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4"/>
  </p:notesMasterIdLst>
  <p:sldIdLst>
    <p:sldId id="256" r:id="rId3"/>
    <p:sldId id="258" r:id="rId4"/>
    <p:sldId id="257" r:id="rId5"/>
    <p:sldId id="260" r:id="rId6"/>
    <p:sldId id="259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72" r:id="rId16"/>
    <p:sldId id="269" r:id="rId17"/>
    <p:sldId id="270" r:id="rId18"/>
    <p:sldId id="271" r:id="rId19"/>
    <p:sldId id="273" r:id="rId20"/>
    <p:sldId id="275" r:id="rId21"/>
    <p:sldId id="276" r:id="rId22"/>
    <p:sldId id="280" r:id="rId23"/>
  </p:sldIdLst>
  <p:sldSz cx="12192000" cy="6858000"/>
  <p:notesSz cx="6858000" cy="9144000"/>
  <p:custDataLst>
    <p:tags r:id="rId2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3551"/>
    <a:srgbClr val="F2F9F9"/>
    <a:srgbClr val="FFF7C7"/>
    <a:srgbClr val="F8F7E0"/>
    <a:srgbClr val="EEFDFD"/>
    <a:srgbClr val="F3F3F3"/>
    <a:srgbClr val="E9F2DF"/>
    <a:srgbClr val="11A7FC"/>
    <a:srgbClr val="95D127"/>
    <a:srgbClr val="FF86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30" autoAdjust="0"/>
    <p:restoredTop sz="94660"/>
  </p:normalViewPr>
  <p:slideViewPr>
    <p:cSldViewPr snapToGrid="0" showGuides="1">
      <p:cViewPr varScale="1">
        <p:scale>
          <a:sx n="84" d="100"/>
          <a:sy n="84" d="100"/>
        </p:scale>
        <p:origin x="372" y="84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8" Type="http://schemas.openxmlformats.org/officeDocument/2006/relationships/tags" Target="tags/tag2.xml"/><Relationship Id="rId27" Type="http://schemas.openxmlformats.org/officeDocument/2006/relationships/tableStyles" Target="tableStyles.xml"/><Relationship Id="rId26" Type="http://schemas.openxmlformats.org/officeDocument/2006/relationships/viewProps" Target="viewProps.xml"/><Relationship Id="rId25" Type="http://schemas.openxmlformats.org/officeDocument/2006/relationships/presProps" Target="presProps.xml"/><Relationship Id="rId24" Type="http://schemas.openxmlformats.org/officeDocument/2006/relationships/notesMaster" Target="notesMasters/notesMaster1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4134E9-2BD2-426A-A5CB-F9323A332951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AE5E20-B8E7-4526-9878-C0CF8296F484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9937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/>
          </a:ln>
        </p:spPr>
      </p:sp>
      <p:sp>
        <p:nvSpPr>
          <p:cNvPr id="39938" name="备注占位符 2"/>
          <p:cNvSpPr>
            <a:spLocks noGrp="1"/>
          </p:cNvSpPr>
          <p:nvPr>
            <p:ph type="body"/>
          </p:nvPr>
        </p:nvSpPr>
        <p:spPr>
          <a:noFill/>
          <a:ln>
            <a:noFill/>
          </a:ln>
        </p:spPr>
        <p:txBody>
          <a:bodyPr wrap="square" lIns="91440" tIns="45720" rIns="91440" bIns="45720" anchor="t"/>
          <a:p>
            <a:pPr lvl="0">
              <a:spcBef>
                <a:spcPct val="0"/>
              </a:spcBef>
            </a:pPr>
            <a:r>
              <a:rPr lang="zh-CN" altLang="en-US" dirty="0"/>
              <a:t>模板来自于 </a:t>
            </a:r>
            <a:r>
              <a:rPr lang="en-US" altLang="zh-CN" dirty="0"/>
              <a:t>https://www.pptying.com    【PPT</a:t>
            </a:r>
            <a:r>
              <a:rPr lang="zh-CN" altLang="en-US" dirty="0"/>
              <a:t>营</a:t>
            </a:r>
            <a:r>
              <a:rPr lang="en-US" altLang="zh-CN" dirty="0"/>
              <a:t>】</a:t>
            </a:r>
            <a:endParaRPr lang="zh-CN" altLang="en-US" dirty="0"/>
          </a:p>
        </p:txBody>
      </p:sp>
      <p:sp>
        <p:nvSpPr>
          <p:cNvPr id="39939" name="灯片编号占位符 3"/>
          <p:cNvSpPr>
            <a:spLocks noGrp="1"/>
          </p:cNvSpPr>
          <p:nvPr>
            <p:ph type="sldNum" sz="quarter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1440" tIns="45720" rIns="91440" bIns="45720" anchor="b"/>
          <a:p>
            <a:pPr lvl="0" algn="r" eaLnBrk="1" hangingPunct="1"/>
            <a:fld id="{9A0DB2DC-4C9A-4742-B13C-FB6460FD3503}" type="slidenum">
              <a:rPr lang="zh-CN" altLang="en-US" sz="1200">
                <a:solidFill>
                  <a:srgbClr val="000000"/>
                </a:solidFill>
                <a:latin typeface="Calibri" panose="020F0502020204030204" charset="0"/>
                <a:ea typeface="宋体" panose="02010600030101010101" pitchFamily="2" charset="-122"/>
              </a:rPr>
            </a:fld>
            <a:endParaRPr lang="zh-CN" altLang="en-US" sz="1200">
              <a:solidFill>
                <a:srgbClr val="000000"/>
              </a:solidFill>
              <a:latin typeface="Calibri" panose="020F050202020403020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3" Type="http://schemas.openxmlformats.org/officeDocument/2006/relationships/theme" Target="../theme/theme1.xml"/><Relationship Id="rId12" Type="http://schemas.openxmlformats.org/officeDocument/2006/relationships/image" Target="../media/image1.jpeg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5366E2-2601-4D70-82CC-BEB7FE4CAA1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E093D5-51FD-4CB6-B59C-612DFB0B8DF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20.jpeg"/><Relationship Id="rId1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9" Type="http://schemas.microsoft.com/office/2007/relationships/hdphoto" Target="../media/image28.wdp"/><Relationship Id="rId8" Type="http://schemas.openxmlformats.org/officeDocument/2006/relationships/image" Target="../media/image27.png"/><Relationship Id="rId7" Type="http://schemas.microsoft.com/office/2007/relationships/hdphoto" Target="../media/image26.wdp"/><Relationship Id="rId6" Type="http://schemas.openxmlformats.org/officeDocument/2006/relationships/image" Target="../media/image25.png"/><Relationship Id="rId5" Type="http://schemas.microsoft.com/office/2007/relationships/hdphoto" Target="../media/image24.wdp"/><Relationship Id="rId4" Type="http://schemas.openxmlformats.org/officeDocument/2006/relationships/image" Target="../media/image23.png"/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1" Type="http://schemas.openxmlformats.org/officeDocument/2006/relationships/slideLayout" Target="../slideLayouts/slideLayout2.xml"/><Relationship Id="rId10" Type="http://schemas.openxmlformats.org/officeDocument/2006/relationships/image" Target="../media/image29.png"/><Relationship Id="rId1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tags" Target="../tags/tag1.xml"/><Relationship Id="rId4" Type="http://schemas.openxmlformats.org/officeDocument/2006/relationships/image" Target="../media/image32.png"/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7.xml"/><Relationship Id="rId2" Type="http://schemas.openxmlformats.org/officeDocument/2006/relationships/hyperlink" Target="https://www.pptying.com" TargetMode="External"/><Relationship Id="rId1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.png"/><Relationship Id="rId1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7" Type="http://schemas.microsoft.com/office/2007/relationships/hdphoto" Target="../media/image16.wdp"/><Relationship Id="rId6" Type="http://schemas.openxmlformats.org/officeDocument/2006/relationships/image" Target="../media/image15.png"/><Relationship Id="rId5" Type="http://schemas.microsoft.com/office/2007/relationships/hdphoto" Target="../media/image14.wdp"/><Relationship Id="rId4" Type="http://schemas.openxmlformats.org/officeDocument/2006/relationships/image" Target="../media/image13.png"/><Relationship Id="rId3" Type="http://schemas.microsoft.com/office/2007/relationships/hdphoto" Target="../media/image12.wdp"/><Relationship Id="rId2" Type="http://schemas.openxmlformats.org/officeDocument/2006/relationships/image" Target="../media/image11.png"/><Relationship Id="rId1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17.png"/><Relationship Id="rId1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.xml"/><Relationship Id="rId8" Type="http://schemas.openxmlformats.org/officeDocument/2006/relationships/image" Target="../media/image6.png"/><Relationship Id="rId7" Type="http://schemas.openxmlformats.org/officeDocument/2006/relationships/image" Target="../media/image10.png"/><Relationship Id="rId6" Type="http://schemas.openxmlformats.org/officeDocument/2006/relationships/image" Target="../media/image7.png"/><Relationship Id="rId5" Type="http://schemas.openxmlformats.org/officeDocument/2006/relationships/image" Target="../media/image19.png"/><Relationship Id="rId4" Type="http://schemas.openxmlformats.org/officeDocument/2006/relationships/image" Target="../media/image9.png"/><Relationship Id="rId3" Type="http://schemas.openxmlformats.org/officeDocument/2006/relationships/image" Target="../media/image8.png"/><Relationship Id="rId2" Type="http://schemas.openxmlformats.org/officeDocument/2006/relationships/image" Target="../media/image18.png"/><Relationship Id="rId1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组合 26"/>
          <p:cNvGrpSpPr/>
          <p:nvPr/>
        </p:nvGrpSpPr>
        <p:grpSpPr>
          <a:xfrm>
            <a:off x="3181429" y="1723333"/>
            <a:ext cx="5892130" cy="3093226"/>
            <a:chOff x="3181429" y="1723333"/>
            <a:chExt cx="5892130" cy="3093226"/>
          </a:xfrm>
        </p:grpSpPr>
        <p:grpSp>
          <p:nvGrpSpPr>
            <p:cNvPr id="26" name="组合 25"/>
            <p:cNvGrpSpPr/>
            <p:nvPr/>
          </p:nvGrpSpPr>
          <p:grpSpPr>
            <a:xfrm>
              <a:off x="3729909" y="2001944"/>
              <a:ext cx="4887877" cy="2371800"/>
              <a:chOff x="3729909" y="2001944"/>
              <a:chExt cx="4887877" cy="2371800"/>
            </a:xfrm>
          </p:grpSpPr>
          <p:sp>
            <p:nvSpPr>
              <p:cNvPr id="6" name="矩形 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" name="文本框 6"/>
              <p:cNvSpPr txBox="1"/>
              <p:nvPr/>
            </p:nvSpPr>
            <p:spPr>
              <a:xfrm>
                <a:off x="3916016" y="2001944"/>
                <a:ext cx="169136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2800" dirty="0" smtClean="0"/>
                  <a:t>Design by:</a:t>
                </a:r>
                <a:endParaRPr lang="zh-CN" altLang="en-US" sz="2800" dirty="0"/>
              </a:p>
            </p:txBody>
          </p:sp>
          <p:sp>
            <p:nvSpPr>
              <p:cNvPr id="8" name="文本框 7"/>
              <p:cNvSpPr txBox="1"/>
              <p:nvPr/>
            </p:nvSpPr>
            <p:spPr>
              <a:xfrm>
                <a:off x="3729909" y="2425774"/>
                <a:ext cx="4887877" cy="156966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6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DESIGNER</a:t>
                </a:r>
                <a:endParaRPr lang="zh-CN" altLang="en-US" sz="96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0" name="直接连接符 9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椭圆 1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" name="文本框 16"/>
              <p:cNvSpPr txBox="1"/>
              <p:nvPr/>
            </p:nvSpPr>
            <p:spPr>
              <a:xfrm>
                <a:off x="4357886" y="4035190"/>
                <a:ext cx="4018472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5" name="组合 24"/>
            <p:cNvGrpSpPr/>
            <p:nvPr/>
          </p:nvGrpSpPr>
          <p:grpSpPr>
            <a:xfrm>
              <a:off x="3181429" y="4294363"/>
              <a:ext cx="605747" cy="522196"/>
              <a:chOff x="3253145" y="4294363"/>
              <a:chExt cx="605747" cy="522196"/>
            </a:xfrm>
          </p:grpSpPr>
          <p:sp>
            <p:nvSpPr>
              <p:cNvPr id="15" name="六边形 14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4" name="组合 23"/>
            <p:cNvGrpSpPr/>
            <p:nvPr/>
          </p:nvGrpSpPr>
          <p:grpSpPr>
            <a:xfrm>
              <a:off x="3794602" y="3952412"/>
              <a:ext cx="605747" cy="522196"/>
              <a:chOff x="3866318" y="3952412"/>
              <a:chExt cx="605747" cy="522196"/>
            </a:xfrm>
          </p:grpSpPr>
          <p:sp>
            <p:nvSpPr>
              <p:cNvPr id="16" name="六边形 15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3" name="组合 22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3" name="六边形 12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0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553040" y="4185464"/>
            <a:ext cx="5469331" cy="1570334"/>
            <a:chOff x="553040" y="4185464"/>
            <a:chExt cx="5469331" cy="1570334"/>
          </a:xfrm>
        </p:grpSpPr>
        <p:grpSp>
          <p:nvGrpSpPr>
            <p:cNvPr id="76" name="组合 75"/>
            <p:cNvGrpSpPr/>
            <p:nvPr/>
          </p:nvGrpSpPr>
          <p:grpSpPr>
            <a:xfrm>
              <a:off x="553040" y="4201159"/>
              <a:ext cx="5469331" cy="1554639"/>
              <a:chOff x="5211168" y="3864019"/>
              <a:chExt cx="5469331" cy="1554639"/>
            </a:xfrm>
          </p:grpSpPr>
          <p:grpSp>
            <p:nvGrpSpPr>
              <p:cNvPr id="80" name="组合 79"/>
              <p:cNvGrpSpPr/>
              <p:nvPr/>
            </p:nvGrpSpPr>
            <p:grpSpPr>
              <a:xfrm>
                <a:off x="5917761" y="3864019"/>
                <a:ext cx="3944572" cy="646331"/>
                <a:chOff x="-3744304" y="6216486"/>
                <a:chExt cx="3944572" cy="646331"/>
              </a:xfrm>
            </p:grpSpPr>
            <p:sp>
              <p:nvSpPr>
                <p:cNvPr id="82" name="矩形 81"/>
                <p:cNvSpPr/>
                <p:nvPr/>
              </p:nvSpPr>
              <p:spPr>
                <a:xfrm>
                  <a:off x="-3729013" y="6216486"/>
                  <a:ext cx="3929281" cy="64633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dirty="0">
                      <a:solidFill>
                        <a:srgbClr val="EE3551"/>
                      </a:solidFill>
                      <a:latin typeface="方正风雅宋简体" panose="02000000000000000000" pitchFamily="2" charset="-122"/>
                      <a:ea typeface="方正风雅宋简体" panose="02000000000000000000" pitchFamily="2" charset="-122"/>
                    </a:rPr>
                    <a:t>GO LIVE FOR THE HEALTHY </a:t>
                  </a:r>
                  <a:endParaRPr lang="en-US" altLang="zh-CN" dirty="0" smtClean="0">
                    <a:solidFill>
                      <a:srgbClr val="EE355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endParaRPr>
                </a:p>
                <a:p>
                  <a:r>
                    <a:rPr lang="en-US" altLang="zh-CN" dirty="0" smtClean="0">
                      <a:solidFill>
                        <a:schemeClr val="bg1"/>
                      </a:solidFill>
                      <a:latin typeface="方正风雅宋简体" panose="02000000000000000000" pitchFamily="2" charset="-122"/>
                      <a:ea typeface="方正风雅宋简体" panose="02000000000000000000" pitchFamily="2" charset="-122"/>
                    </a:rPr>
                    <a:t>SEAS </a:t>
                  </a:r>
                  <a:r>
                    <a:rPr lang="en-US" altLang="zh-CN" dirty="0">
                      <a:solidFill>
                        <a:schemeClr val="bg1"/>
                      </a:solidFill>
                      <a:latin typeface="方正风雅宋简体" panose="02000000000000000000" pitchFamily="2" charset="-122"/>
                      <a:ea typeface="方正风雅宋简体" panose="02000000000000000000" pitchFamily="2" charset="-122"/>
                    </a:rPr>
                    <a:t>INITIATIVE!</a:t>
                  </a:r>
                  <a:endParaRPr lang="zh-CN" altLang="en-US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endParaRPr>
                </a:p>
              </p:txBody>
            </p:sp>
            <p:cxnSp>
              <p:nvCxnSpPr>
                <p:cNvPr id="83" name="直接连接符 82"/>
                <p:cNvCxnSpPr/>
                <p:nvPr/>
              </p:nvCxnSpPr>
              <p:spPr>
                <a:xfrm>
                  <a:off x="-3744304" y="6257262"/>
                  <a:ext cx="0" cy="504000"/>
                </a:xfrm>
                <a:prstGeom prst="line">
                  <a:avLst/>
                </a:prstGeom>
                <a:ln w="57150">
                  <a:solidFill>
                    <a:srgbClr val="EE355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1" name="矩形 80"/>
              <p:cNvSpPr/>
              <p:nvPr/>
            </p:nvSpPr>
            <p:spPr>
              <a:xfrm>
                <a:off x="5211168" y="4479939"/>
                <a:ext cx="5469331" cy="93871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100" dirty="0">
                    <a:solidFill>
                      <a:schemeClr val="bg1"/>
                    </a:solidFill>
                  </a:rPr>
                  <a:t>The colors are vivid and with stylish pattern. For man, women or junior, all these training swimsuits are made with regenerated ECONYL® nylon yarn and therefore the material (80% ECONYL® and 20% Lycra) is called </a:t>
                </a:r>
                <a:r>
                  <a:rPr lang="en-US" altLang="zh-CN" sz="1100" dirty="0" err="1">
                    <a:solidFill>
                      <a:schemeClr val="bg1"/>
                    </a:solidFill>
                  </a:rPr>
                  <a:t>Waterfeel</a:t>
                </a:r>
                <a:r>
                  <a:rPr lang="en-US" altLang="zh-CN" sz="1100" dirty="0">
                    <a:solidFill>
                      <a:schemeClr val="bg1"/>
                    </a:solidFill>
                  </a:rPr>
                  <a:t> x-life ECO</a:t>
                </a:r>
                <a:r>
                  <a:rPr lang="en-US" altLang="zh-CN" sz="1100" dirty="0" smtClean="0">
                    <a:solidFill>
                      <a:schemeClr val="bg1"/>
                    </a:solidFill>
                  </a:rPr>
                  <a:t>. women or junior, all these training swimsuits are made with regenerated ECONYL® nylon yarn and therefore the material (80% ECONYL® and 20% Lycra) is called </a:t>
                </a:r>
                <a:r>
                  <a:rPr lang="en-US" altLang="zh-CN" sz="1100" dirty="0" err="1" smtClean="0">
                    <a:solidFill>
                      <a:schemeClr val="bg1"/>
                    </a:solidFill>
                  </a:rPr>
                  <a:t>Waterfeel</a:t>
                </a:r>
                <a:r>
                  <a:rPr lang="en-US" altLang="zh-CN" sz="1100" dirty="0" smtClean="0">
                    <a:solidFill>
                      <a:schemeClr val="bg1"/>
                    </a:solidFill>
                  </a:rPr>
                  <a:t> x-life ECO.</a:t>
                </a:r>
                <a:endParaRPr lang="zh-CN" altLang="en-US" sz="11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9" name="Freeform 53"/>
            <p:cNvSpPr>
              <a:spLocks noEditPoints="1"/>
            </p:cNvSpPr>
            <p:nvPr/>
          </p:nvSpPr>
          <p:spPr bwMode="black">
            <a:xfrm>
              <a:off x="616179" y="4185464"/>
              <a:ext cx="528156" cy="596043"/>
            </a:xfrm>
            <a:custGeom>
              <a:avLst/>
              <a:gdLst>
                <a:gd name="T0" fmla="*/ 466 w 1443"/>
                <a:gd name="T1" fmla="*/ 0 h 1627"/>
                <a:gd name="T2" fmla="*/ 466 w 1443"/>
                <a:gd name="T3" fmla="*/ 294 h 1627"/>
                <a:gd name="T4" fmla="*/ 0 w 1443"/>
                <a:gd name="T5" fmla="*/ 1173 h 1627"/>
                <a:gd name="T6" fmla="*/ 48 w 1443"/>
                <a:gd name="T7" fmla="*/ 1230 h 1627"/>
                <a:gd name="T8" fmla="*/ 186 w 1443"/>
                <a:gd name="T9" fmla="*/ 1363 h 1627"/>
                <a:gd name="T10" fmla="*/ 210 w 1443"/>
                <a:gd name="T11" fmla="*/ 1455 h 1627"/>
                <a:gd name="T12" fmla="*/ 31 w 1443"/>
                <a:gd name="T13" fmla="*/ 1545 h 1627"/>
                <a:gd name="T14" fmla="*/ 49 w 1443"/>
                <a:gd name="T15" fmla="*/ 1554 h 1627"/>
                <a:gd name="T16" fmla="*/ 61 w 1443"/>
                <a:gd name="T17" fmla="*/ 1620 h 1627"/>
                <a:gd name="T18" fmla="*/ 73 w 1443"/>
                <a:gd name="T19" fmla="*/ 1553 h 1627"/>
                <a:gd name="T20" fmla="*/ 210 w 1443"/>
                <a:gd name="T21" fmla="*/ 1525 h 1627"/>
                <a:gd name="T22" fmla="*/ 215 w 1443"/>
                <a:gd name="T23" fmla="*/ 1537 h 1627"/>
                <a:gd name="T24" fmla="*/ 228 w 1443"/>
                <a:gd name="T25" fmla="*/ 1594 h 1627"/>
                <a:gd name="T26" fmla="*/ 258 w 1443"/>
                <a:gd name="T27" fmla="*/ 1627 h 1627"/>
                <a:gd name="T28" fmla="*/ 271 w 1443"/>
                <a:gd name="T29" fmla="*/ 1594 h 1627"/>
                <a:gd name="T30" fmla="*/ 276 w 1443"/>
                <a:gd name="T31" fmla="*/ 1537 h 1627"/>
                <a:gd name="T32" fmla="*/ 411 w 1443"/>
                <a:gd name="T33" fmla="*/ 1541 h 1627"/>
                <a:gd name="T34" fmla="*/ 388 w 1443"/>
                <a:gd name="T35" fmla="*/ 1586 h 1627"/>
                <a:gd name="T36" fmla="*/ 457 w 1443"/>
                <a:gd name="T37" fmla="*/ 1586 h 1627"/>
                <a:gd name="T38" fmla="*/ 435 w 1443"/>
                <a:gd name="T39" fmla="*/ 1543 h 1627"/>
                <a:gd name="T40" fmla="*/ 452 w 1443"/>
                <a:gd name="T41" fmla="*/ 1504 h 1627"/>
                <a:gd name="T42" fmla="*/ 276 w 1443"/>
                <a:gd name="T43" fmla="*/ 1363 h 1627"/>
                <a:gd name="T44" fmla="*/ 299 w 1443"/>
                <a:gd name="T45" fmla="*/ 1230 h 1627"/>
                <a:gd name="T46" fmla="*/ 514 w 1443"/>
                <a:gd name="T47" fmla="*/ 1182 h 1627"/>
                <a:gd name="T48" fmla="*/ 494 w 1443"/>
                <a:gd name="T49" fmla="*/ 1134 h 1627"/>
                <a:gd name="T50" fmla="*/ 538 w 1443"/>
                <a:gd name="T51" fmla="*/ 1491 h 1627"/>
                <a:gd name="T52" fmla="*/ 722 w 1443"/>
                <a:gd name="T53" fmla="*/ 1528 h 1627"/>
                <a:gd name="T54" fmla="*/ 816 w 1443"/>
                <a:gd name="T55" fmla="*/ 1053 h 1627"/>
                <a:gd name="T56" fmla="*/ 817 w 1443"/>
                <a:gd name="T57" fmla="*/ 1052 h 1627"/>
                <a:gd name="T58" fmla="*/ 818 w 1443"/>
                <a:gd name="T59" fmla="*/ 1027 h 1627"/>
                <a:gd name="T60" fmla="*/ 439 w 1443"/>
                <a:gd name="T61" fmla="*/ 938 h 1627"/>
                <a:gd name="T62" fmla="*/ 820 w 1443"/>
                <a:gd name="T63" fmla="*/ 772 h 1627"/>
                <a:gd name="T64" fmla="*/ 1231 w 1443"/>
                <a:gd name="T65" fmla="*/ 760 h 1627"/>
                <a:gd name="T66" fmla="*/ 1245 w 1443"/>
                <a:gd name="T67" fmla="*/ 707 h 1627"/>
                <a:gd name="T68" fmla="*/ 1428 w 1443"/>
                <a:gd name="T69" fmla="*/ 267 h 1627"/>
                <a:gd name="T70" fmla="*/ 1235 w 1443"/>
                <a:gd name="T71" fmla="*/ 687 h 1627"/>
                <a:gd name="T72" fmla="*/ 1215 w 1443"/>
                <a:gd name="T73" fmla="*/ 700 h 1627"/>
                <a:gd name="T74" fmla="*/ 898 w 1443"/>
                <a:gd name="T75" fmla="*/ 693 h 1627"/>
                <a:gd name="T76" fmla="*/ 507 w 1443"/>
                <a:gd name="T77" fmla="*/ 615 h 1627"/>
                <a:gd name="T78" fmla="*/ 415 w 1443"/>
                <a:gd name="T79" fmla="*/ 354 h 1627"/>
                <a:gd name="T80" fmla="*/ 196 w 1443"/>
                <a:gd name="T81" fmla="*/ 456 h 1627"/>
                <a:gd name="T82" fmla="*/ 138 w 1443"/>
                <a:gd name="T83" fmla="*/ 730 h 1627"/>
                <a:gd name="T84" fmla="*/ 90 w 1443"/>
                <a:gd name="T85" fmla="*/ 530 h 1627"/>
                <a:gd name="T86" fmla="*/ 6 w 1443"/>
                <a:gd name="T87" fmla="*/ 578 h 1627"/>
                <a:gd name="T88" fmla="*/ 49 w 1443"/>
                <a:gd name="T89" fmla="*/ 966 h 1627"/>
                <a:gd name="T90" fmla="*/ 48 w 1443"/>
                <a:gd name="T91" fmla="*/ 1125 h 1627"/>
                <a:gd name="T92" fmla="*/ 96 w 1443"/>
                <a:gd name="T93" fmla="*/ 1084 h 1627"/>
                <a:gd name="T94" fmla="*/ 96 w 1443"/>
                <a:gd name="T95" fmla="*/ 1125 h 1627"/>
                <a:gd name="T96" fmla="*/ 1084 w 1443"/>
                <a:gd name="T97" fmla="*/ 1519 h 1627"/>
                <a:gd name="T98" fmla="*/ 824 w 1443"/>
                <a:gd name="T99" fmla="*/ 1618 h 1627"/>
                <a:gd name="T100" fmla="*/ 1443 w 1443"/>
                <a:gd name="T101" fmla="*/ 1519 h 1627"/>
                <a:gd name="T102" fmla="*/ 1293 w 1443"/>
                <a:gd name="T103" fmla="*/ 870 h 1627"/>
                <a:gd name="T104" fmla="*/ 1443 w 1443"/>
                <a:gd name="T105" fmla="*/ 772 h 1627"/>
                <a:gd name="T106" fmla="*/ 586 w 1443"/>
                <a:gd name="T107" fmla="*/ 870 h 1627"/>
                <a:gd name="T108" fmla="*/ 1084 w 1443"/>
                <a:gd name="T109" fmla="*/ 1519 h 1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43" h="1627">
                  <a:moveTo>
                    <a:pt x="613" y="147"/>
                  </a:moveTo>
                  <a:cubicBezTo>
                    <a:pt x="613" y="65"/>
                    <a:pt x="547" y="0"/>
                    <a:pt x="466" y="0"/>
                  </a:cubicBezTo>
                  <a:cubicBezTo>
                    <a:pt x="385" y="0"/>
                    <a:pt x="319" y="65"/>
                    <a:pt x="319" y="147"/>
                  </a:cubicBezTo>
                  <a:cubicBezTo>
                    <a:pt x="319" y="228"/>
                    <a:pt x="385" y="294"/>
                    <a:pt x="466" y="294"/>
                  </a:cubicBezTo>
                  <a:cubicBezTo>
                    <a:pt x="547" y="294"/>
                    <a:pt x="613" y="228"/>
                    <a:pt x="613" y="147"/>
                  </a:cubicBezTo>
                  <a:close/>
                  <a:moveTo>
                    <a:pt x="0" y="1173"/>
                  </a:moveTo>
                  <a:cubicBezTo>
                    <a:pt x="0" y="1182"/>
                    <a:pt x="0" y="1182"/>
                    <a:pt x="0" y="1182"/>
                  </a:cubicBezTo>
                  <a:cubicBezTo>
                    <a:pt x="0" y="1208"/>
                    <a:pt x="22" y="1230"/>
                    <a:pt x="48" y="1230"/>
                  </a:cubicBezTo>
                  <a:cubicBezTo>
                    <a:pt x="186" y="1230"/>
                    <a:pt x="186" y="1230"/>
                    <a:pt x="186" y="1230"/>
                  </a:cubicBezTo>
                  <a:cubicBezTo>
                    <a:pt x="186" y="1363"/>
                    <a:pt x="186" y="1363"/>
                    <a:pt x="186" y="1363"/>
                  </a:cubicBezTo>
                  <a:cubicBezTo>
                    <a:pt x="210" y="1363"/>
                    <a:pt x="210" y="1363"/>
                    <a:pt x="210" y="1363"/>
                  </a:cubicBezTo>
                  <a:cubicBezTo>
                    <a:pt x="210" y="1455"/>
                    <a:pt x="210" y="1455"/>
                    <a:pt x="210" y="1455"/>
                  </a:cubicBezTo>
                  <a:cubicBezTo>
                    <a:pt x="31" y="1504"/>
                    <a:pt x="31" y="1504"/>
                    <a:pt x="31" y="1504"/>
                  </a:cubicBezTo>
                  <a:cubicBezTo>
                    <a:pt x="31" y="1545"/>
                    <a:pt x="31" y="1545"/>
                    <a:pt x="31" y="1545"/>
                  </a:cubicBezTo>
                  <a:cubicBezTo>
                    <a:pt x="49" y="1543"/>
                    <a:pt x="49" y="1543"/>
                    <a:pt x="49" y="1543"/>
                  </a:cubicBezTo>
                  <a:cubicBezTo>
                    <a:pt x="49" y="1554"/>
                    <a:pt x="49" y="1554"/>
                    <a:pt x="49" y="1554"/>
                  </a:cubicBezTo>
                  <a:cubicBezTo>
                    <a:pt x="36" y="1558"/>
                    <a:pt x="26" y="1571"/>
                    <a:pt x="26" y="1586"/>
                  </a:cubicBezTo>
                  <a:cubicBezTo>
                    <a:pt x="26" y="1605"/>
                    <a:pt x="42" y="1620"/>
                    <a:pt x="61" y="1620"/>
                  </a:cubicBezTo>
                  <a:cubicBezTo>
                    <a:pt x="80" y="1620"/>
                    <a:pt x="95" y="1605"/>
                    <a:pt x="95" y="1586"/>
                  </a:cubicBezTo>
                  <a:cubicBezTo>
                    <a:pt x="95" y="1571"/>
                    <a:pt x="86" y="1558"/>
                    <a:pt x="73" y="1553"/>
                  </a:cubicBezTo>
                  <a:cubicBezTo>
                    <a:pt x="73" y="1541"/>
                    <a:pt x="73" y="1541"/>
                    <a:pt x="73" y="1541"/>
                  </a:cubicBezTo>
                  <a:cubicBezTo>
                    <a:pt x="210" y="1525"/>
                    <a:pt x="210" y="1525"/>
                    <a:pt x="210" y="1525"/>
                  </a:cubicBezTo>
                  <a:cubicBezTo>
                    <a:pt x="210" y="1537"/>
                    <a:pt x="210" y="1537"/>
                    <a:pt x="210" y="1537"/>
                  </a:cubicBezTo>
                  <a:cubicBezTo>
                    <a:pt x="215" y="1537"/>
                    <a:pt x="215" y="1537"/>
                    <a:pt x="215" y="1537"/>
                  </a:cubicBezTo>
                  <a:cubicBezTo>
                    <a:pt x="215" y="1594"/>
                    <a:pt x="215" y="1594"/>
                    <a:pt x="215" y="1594"/>
                  </a:cubicBezTo>
                  <a:cubicBezTo>
                    <a:pt x="228" y="1594"/>
                    <a:pt x="228" y="1594"/>
                    <a:pt x="228" y="1594"/>
                  </a:cubicBezTo>
                  <a:cubicBezTo>
                    <a:pt x="228" y="1627"/>
                    <a:pt x="228" y="1627"/>
                    <a:pt x="228" y="1627"/>
                  </a:cubicBezTo>
                  <a:cubicBezTo>
                    <a:pt x="258" y="1627"/>
                    <a:pt x="258" y="1627"/>
                    <a:pt x="258" y="1627"/>
                  </a:cubicBezTo>
                  <a:cubicBezTo>
                    <a:pt x="258" y="1594"/>
                    <a:pt x="258" y="1594"/>
                    <a:pt x="258" y="1594"/>
                  </a:cubicBezTo>
                  <a:cubicBezTo>
                    <a:pt x="271" y="1594"/>
                    <a:pt x="271" y="1594"/>
                    <a:pt x="271" y="1594"/>
                  </a:cubicBezTo>
                  <a:cubicBezTo>
                    <a:pt x="271" y="1537"/>
                    <a:pt x="271" y="1537"/>
                    <a:pt x="271" y="1537"/>
                  </a:cubicBezTo>
                  <a:cubicBezTo>
                    <a:pt x="276" y="1537"/>
                    <a:pt x="276" y="1537"/>
                    <a:pt x="276" y="1537"/>
                  </a:cubicBezTo>
                  <a:cubicBezTo>
                    <a:pt x="276" y="1525"/>
                    <a:pt x="276" y="1525"/>
                    <a:pt x="276" y="1525"/>
                  </a:cubicBezTo>
                  <a:cubicBezTo>
                    <a:pt x="411" y="1541"/>
                    <a:pt x="411" y="1541"/>
                    <a:pt x="411" y="1541"/>
                  </a:cubicBezTo>
                  <a:cubicBezTo>
                    <a:pt x="411" y="1553"/>
                    <a:pt x="411" y="1553"/>
                    <a:pt x="411" y="1553"/>
                  </a:cubicBezTo>
                  <a:cubicBezTo>
                    <a:pt x="398" y="1558"/>
                    <a:pt x="388" y="1571"/>
                    <a:pt x="388" y="1586"/>
                  </a:cubicBezTo>
                  <a:cubicBezTo>
                    <a:pt x="388" y="1605"/>
                    <a:pt x="404" y="1620"/>
                    <a:pt x="423" y="1620"/>
                  </a:cubicBezTo>
                  <a:cubicBezTo>
                    <a:pt x="442" y="1620"/>
                    <a:pt x="457" y="1605"/>
                    <a:pt x="457" y="1586"/>
                  </a:cubicBezTo>
                  <a:cubicBezTo>
                    <a:pt x="457" y="1571"/>
                    <a:pt x="448" y="1558"/>
                    <a:pt x="435" y="1554"/>
                  </a:cubicBezTo>
                  <a:cubicBezTo>
                    <a:pt x="435" y="1543"/>
                    <a:pt x="435" y="1543"/>
                    <a:pt x="435" y="1543"/>
                  </a:cubicBezTo>
                  <a:cubicBezTo>
                    <a:pt x="452" y="1545"/>
                    <a:pt x="452" y="1545"/>
                    <a:pt x="452" y="1545"/>
                  </a:cubicBezTo>
                  <a:cubicBezTo>
                    <a:pt x="452" y="1504"/>
                    <a:pt x="452" y="1504"/>
                    <a:pt x="452" y="1504"/>
                  </a:cubicBezTo>
                  <a:cubicBezTo>
                    <a:pt x="276" y="1456"/>
                    <a:pt x="276" y="1456"/>
                    <a:pt x="276" y="1456"/>
                  </a:cubicBezTo>
                  <a:cubicBezTo>
                    <a:pt x="276" y="1363"/>
                    <a:pt x="276" y="1363"/>
                    <a:pt x="276" y="1363"/>
                  </a:cubicBezTo>
                  <a:cubicBezTo>
                    <a:pt x="299" y="1363"/>
                    <a:pt x="299" y="1363"/>
                    <a:pt x="299" y="1363"/>
                  </a:cubicBezTo>
                  <a:cubicBezTo>
                    <a:pt x="299" y="1230"/>
                    <a:pt x="299" y="1230"/>
                    <a:pt x="299" y="1230"/>
                  </a:cubicBezTo>
                  <a:cubicBezTo>
                    <a:pt x="466" y="1230"/>
                    <a:pt x="466" y="1230"/>
                    <a:pt x="466" y="1230"/>
                  </a:cubicBezTo>
                  <a:cubicBezTo>
                    <a:pt x="493" y="1230"/>
                    <a:pt x="514" y="1208"/>
                    <a:pt x="514" y="1182"/>
                  </a:cubicBezTo>
                  <a:cubicBezTo>
                    <a:pt x="514" y="1173"/>
                    <a:pt x="514" y="1173"/>
                    <a:pt x="514" y="1173"/>
                  </a:cubicBezTo>
                  <a:cubicBezTo>
                    <a:pt x="514" y="1157"/>
                    <a:pt x="506" y="1143"/>
                    <a:pt x="494" y="1134"/>
                  </a:cubicBezTo>
                  <a:cubicBezTo>
                    <a:pt x="609" y="1134"/>
                    <a:pt x="609" y="1134"/>
                    <a:pt x="609" y="1134"/>
                  </a:cubicBezTo>
                  <a:cubicBezTo>
                    <a:pt x="538" y="1491"/>
                    <a:pt x="538" y="1491"/>
                    <a:pt x="538" y="1491"/>
                  </a:cubicBezTo>
                  <a:cubicBezTo>
                    <a:pt x="528" y="1539"/>
                    <a:pt x="562" y="1586"/>
                    <a:pt x="613" y="1596"/>
                  </a:cubicBezTo>
                  <a:cubicBezTo>
                    <a:pt x="664" y="1606"/>
                    <a:pt x="713" y="1576"/>
                    <a:pt x="722" y="1528"/>
                  </a:cubicBezTo>
                  <a:cubicBezTo>
                    <a:pt x="816" y="1057"/>
                    <a:pt x="816" y="1057"/>
                    <a:pt x="816" y="1057"/>
                  </a:cubicBezTo>
                  <a:cubicBezTo>
                    <a:pt x="816" y="1056"/>
                    <a:pt x="816" y="1054"/>
                    <a:pt x="816" y="1053"/>
                  </a:cubicBezTo>
                  <a:cubicBezTo>
                    <a:pt x="816" y="1053"/>
                    <a:pt x="816" y="1053"/>
                    <a:pt x="816" y="1053"/>
                  </a:cubicBezTo>
                  <a:cubicBezTo>
                    <a:pt x="817" y="1053"/>
                    <a:pt x="817" y="1052"/>
                    <a:pt x="817" y="1052"/>
                  </a:cubicBezTo>
                  <a:cubicBezTo>
                    <a:pt x="817" y="1051"/>
                    <a:pt x="817" y="1051"/>
                    <a:pt x="817" y="1051"/>
                  </a:cubicBezTo>
                  <a:cubicBezTo>
                    <a:pt x="818" y="1043"/>
                    <a:pt x="818" y="1035"/>
                    <a:pt x="818" y="1027"/>
                  </a:cubicBezTo>
                  <a:cubicBezTo>
                    <a:pt x="813" y="977"/>
                    <a:pt x="771" y="938"/>
                    <a:pt x="720" y="938"/>
                  </a:cubicBezTo>
                  <a:cubicBezTo>
                    <a:pt x="439" y="938"/>
                    <a:pt x="439" y="938"/>
                    <a:pt x="439" y="938"/>
                  </a:cubicBezTo>
                  <a:cubicBezTo>
                    <a:pt x="474" y="772"/>
                    <a:pt x="474" y="772"/>
                    <a:pt x="474" y="772"/>
                  </a:cubicBezTo>
                  <a:cubicBezTo>
                    <a:pt x="820" y="772"/>
                    <a:pt x="820" y="772"/>
                    <a:pt x="820" y="772"/>
                  </a:cubicBezTo>
                  <a:cubicBezTo>
                    <a:pt x="835" y="772"/>
                    <a:pt x="849" y="767"/>
                    <a:pt x="861" y="760"/>
                  </a:cubicBezTo>
                  <a:cubicBezTo>
                    <a:pt x="1231" y="760"/>
                    <a:pt x="1231" y="760"/>
                    <a:pt x="1231" y="760"/>
                  </a:cubicBezTo>
                  <a:cubicBezTo>
                    <a:pt x="1231" y="717"/>
                    <a:pt x="1231" y="717"/>
                    <a:pt x="1231" y="717"/>
                  </a:cubicBezTo>
                  <a:cubicBezTo>
                    <a:pt x="1238" y="717"/>
                    <a:pt x="1251" y="709"/>
                    <a:pt x="1245" y="707"/>
                  </a:cubicBezTo>
                  <a:cubicBezTo>
                    <a:pt x="1258" y="712"/>
                    <a:pt x="1258" y="712"/>
                    <a:pt x="1258" y="712"/>
                  </a:cubicBezTo>
                  <a:cubicBezTo>
                    <a:pt x="1427" y="272"/>
                    <a:pt x="1255" y="721"/>
                    <a:pt x="1428" y="267"/>
                  </a:cubicBezTo>
                  <a:cubicBezTo>
                    <a:pt x="1372" y="246"/>
                    <a:pt x="1400" y="256"/>
                    <a:pt x="1400" y="256"/>
                  </a:cubicBezTo>
                  <a:cubicBezTo>
                    <a:pt x="1235" y="687"/>
                    <a:pt x="1235" y="687"/>
                    <a:pt x="1235" y="687"/>
                  </a:cubicBezTo>
                  <a:cubicBezTo>
                    <a:pt x="1234" y="686"/>
                    <a:pt x="1232" y="686"/>
                    <a:pt x="1231" y="686"/>
                  </a:cubicBezTo>
                  <a:cubicBezTo>
                    <a:pt x="1223" y="686"/>
                    <a:pt x="1216" y="692"/>
                    <a:pt x="1215" y="700"/>
                  </a:cubicBezTo>
                  <a:cubicBezTo>
                    <a:pt x="898" y="700"/>
                    <a:pt x="898" y="700"/>
                    <a:pt x="898" y="700"/>
                  </a:cubicBezTo>
                  <a:cubicBezTo>
                    <a:pt x="898" y="698"/>
                    <a:pt x="898" y="695"/>
                    <a:pt x="898" y="693"/>
                  </a:cubicBezTo>
                  <a:cubicBezTo>
                    <a:pt x="898" y="650"/>
                    <a:pt x="863" y="615"/>
                    <a:pt x="820" y="615"/>
                  </a:cubicBezTo>
                  <a:cubicBezTo>
                    <a:pt x="507" y="615"/>
                    <a:pt x="507" y="615"/>
                    <a:pt x="507" y="615"/>
                  </a:cubicBezTo>
                  <a:cubicBezTo>
                    <a:pt x="526" y="525"/>
                    <a:pt x="526" y="525"/>
                    <a:pt x="526" y="525"/>
                  </a:cubicBezTo>
                  <a:cubicBezTo>
                    <a:pt x="542" y="447"/>
                    <a:pt x="492" y="371"/>
                    <a:pt x="415" y="354"/>
                  </a:cubicBezTo>
                  <a:cubicBezTo>
                    <a:pt x="367" y="344"/>
                    <a:pt x="367" y="344"/>
                    <a:pt x="367" y="344"/>
                  </a:cubicBezTo>
                  <a:cubicBezTo>
                    <a:pt x="289" y="328"/>
                    <a:pt x="213" y="378"/>
                    <a:pt x="196" y="456"/>
                  </a:cubicBezTo>
                  <a:cubicBezTo>
                    <a:pt x="151" y="670"/>
                    <a:pt x="151" y="670"/>
                    <a:pt x="151" y="670"/>
                  </a:cubicBezTo>
                  <a:cubicBezTo>
                    <a:pt x="138" y="730"/>
                    <a:pt x="138" y="730"/>
                    <a:pt x="138" y="730"/>
                  </a:cubicBezTo>
                  <a:cubicBezTo>
                    <a:pt x="138" y="578"/>
                    <a:pt x="138" y="578"/>
                    <a:pt x="138" y="578"/>
                  </a:cubicBezTo>
                  <a:cubicBezTo>
                    <a:pt x="138" y="552"/>
                    <a:pt x="117" y="530"/>
                    <a:pt x="90" y="530"/>
                  </a:cubicBezTo>
                  <a:cubicBezTo>
                    <a:pt x="54" y="530"/>
                    <a:pt x="54" y="530"/>
                    <a:pt x="54" y="530"/>
                  </a:cubicBezTo>
                  <a:cubicBezTo>
                    <a:pt x="28" y="530"/>
                    <a:pt x="6" y="552"/>
                    <a:pt x="6" y="578"/>
                  </a:cubicBezTo>
                  <a:cubicBezTo>
                    <a:pt x="6" y="918"/>
                    <a:pt x="6" y="918"/>
                    <a:pt x="6" y="918"/>
                  </a:cubicBezTo>
                  <a:cubicBezTo>
                    <a:pt x="6" y="943"/>
                    <a:pt x="25" y="964"/>
                    <a:pt x="49" y="966"/>
                  </a:cubicBezTo>
                  <a:cubicBezTo>
                    <a:pt x="49" y="1125"/>
                    <a:pt x="49" y="1125"/>
                    <a:pt x="49" y="1125"/>
                  </a:cubicBezTo>
                  <a:cubicBezTo>
                    <a:pt x="48" y="1125"/>
                    <a:pt x="48" y="1125"/>
                    <a:pt x="48" y="1125"/>
                  </a:cubicBezTo>
                  <a:cubicBezTo>
                    <a:pt x="22" y="1125"/>
                    <a:pt x="0" y="1146"/>
                    <a:pt x="0" y="1173"/>
                  </a:cubicBezTo>
                  <a:close/>
                  <a:moveTo>
                    <a:pt x="96" y="1084"/>
                  </a:moveTo>
                  <a:cubicBezTo>
                    <a:pt x="106" y="1101"/>
                    <a:pt x="121" y="1116"/>
                    <a:pt x="140" y="1125"/>
                  </a:cubicBezTo>
                  <a:cubicBezTo>
                    <a:pt x="96" y="1125"/>
                    <a:pt x="96" y="1125"/>
                    <a:pt x="96" y="1125"/>
                  </a:cubicBezTo>
                  <a:lnTo>
                    <a:pt x="96" y="1084"/>
                  </a:lnTo>
                  <a:close/>
                  <a:moveTo>
                    <a:pt x="1084" y="1519"/>
                  </a:moveTo>
                  <a:cubicBezTo>
                    <a:pt x="824" y="1519"/>
                    <a:pt x="824" y="1519"/>
                    <a:pt x="824" y="1519"/>
                  </a:cubicBezTo>
                  <a:cubicBezTo>
                    <a:pt x="824" y="1618"/>
                    <a:pt x="824" y="1618"/>
                    <a:pt x="824" y="1618"/>
                  </a:cubicBezTo>
                  <a:cubicBezTo>
                    <a:pt x="1443" y="1618"/>
                    <a:pt x="1443" y="1618"/>
                    <a:pt x="1443" y="1618"/>
                  </a:cubicBezTo>
                  <a:cubicBezTo>
                    <a:pt x="1443" y="1519"/>
                    <a:pt x="1443" y="1519"/>
                    <a:pt x="1443" y="1519"/>
                  </a:cubicBezTo>
                  <a:cubicBezTo>
                    <a:pt x="1293" y="1519"/>
                    <a:pt x="1293" y="1519"/>
                    <a:pt x="1293" y="1519"/>
                  </a:cubicBezTo>
                  <a:cubicBezTo>
                    <a:pt x="1293" y="870"/>
                    <a:pt x="1293" y="870"/>
                    <a:pt x="1293" y="870"/>
                  </a:cubicBezTo>
                  <a:cubicBezTo>
                    <a:pt x="1443" y="870"/>
                    <a:pt x="1443" y="870"/>
                    <a:pt x="1443" y="870"/>
                  </a:cubicBezTo>
                  <a:cubicBezTo>
                    <a:pt x="1443" y="772"/>
                    <a:pt x="1443" y="772"/>
                    <a:pt x="1443" y="772"/>
                  </a:cubicBezTo>
                  <a:cubicBezTo>
                    <a:pt x="586" y="772"/>
                    <a:pt x="586" y="772"/>
                    <a:pt x="586" y="772"/>
                  </a:cubicBezTo>
                  <a:cubicBezTo>
                    <a:pt x="586" y="870"/>
                    <a:pt x="586" y="870"/>
                    <a:pt x="586" y="870"/>
                  </a:cubicBezTo>
                  <a:cubicBezTo>
                    <a:pt x="1084" y="870"/>
                    <a:pt x="1084" y="870"/>
                    <a:pt x="1084" y="870"/>
                  </a:cubicBezTo>
                  <a:lnTo>
                    <a:pt x="1084" y="15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57125" tIns="28565" rIns="57125" bIns="28565" numCol="1" anchor="t" anchorCtr="0" compatLnSpc="1"/>
            <a:lstStyle/>
            <a:p>
              <a:endParaRPr lang="en-US" dirty="0"/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6104267" y="4223073"/>
            <a:ext cx="5469331" cy="1554639"/>
            <a:chOff x="5211168" y="3864019"/>
            <a:chExt cx="5469331" cy="1554639"/>
          </a:xfrm>
        </p:grpSpPr>
        <p:grpSp>
          <p:nvGrpSpPr>
            <p:cNvPr id="93" name="组合 92"/>
            <p:cNvGrpSpPr/>
            <p:nvPr/>
          </p:nvGrpSpPr>
          <p:grpSpPr>
            <a:xfrm>
              <a:off x="5917761" y="3864019"/>
              <a:ext cx="3944572" cy="646331"/>
              <a:chOff x="-3744304" y="6216486"/>
              <a:chExt cx="3944572" cy="646331"/>
            </a:xfrm>
          </p:grpSpPr>
          <p:sp>
            <p:nvSpPr>
              <p:cNvPr id="95" name="矩形 94"/>
              <p:cNvSpPr/>
              <p:nvPr/>
            </p:nvSpPr>
            <p:spPr>
              <a:xfrm>
                <a:off x="-3729013" y="6216486"/>
                <a:ext cx="3929281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dirty="0">
                    <a:solidFill>
                      <a:srgbClr val="EE355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GO LIVE FOR THE HEALTHY </a:t>
                </a:r>
                <a:endParaRPr lang="en-US" altLang="zh-CN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  <a:p>
                <a:r>
                  <a:rPr lang="en-US" altLang="zh-CN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SEAS </a:t>
                </a:r>
                <a:r>
                  <a:rPr lang="en-US" altLang="zh-CN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INITIATIVE!</a:t>
                </a:r>
                <a:endParaRPr lang="zh-CN" altLang="en-US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  <p:cxnSp>
            <p:nvCxnSpPr>
              <p:cNvPr id="96" name="直接连接符 95"/>
              <p:cNvCxnSpPr/>
              <p:nvPr/>
            </p:nvCxnSpPr>
            <p:spPr>
              <a:xfrm>
                <a:off x="-3744304" y="6257262"/>
                <a:ext cx="0" cy="504000"/>
              </a:xfrm>
              <a:prstGeom prst="line">
                <a:avLst/>
              </a:prstGeom>
              <a:ln w="57150">
                <a:solidFill>
                  <a:srgbClr val="EE355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4" name="矩形 93"/>
            <p:cNvSpPr/>
            <p:nvPr/>
          </p:nvSpPr>
          <p:spPr>
            <a:xfrm>
              <a:off x="5211168" y="4479939"/>
              <a:ext cx="546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100" dirty="0">
                  <a:solidFill>
                    <a:schemeClr val="bg1"/>
                  </a:solidFill>
                </a:rPr>
                <a:t>The colors are vivid and with stylish pattern. For man,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>
                  <a:solidFill>
                    <a:schemeClr val="bg1"/>
                  </a:solidFill>
                </a:rPr>
                <a:t> x-life ECO</a:t>
              </a:r>
              <a:r>
                <a:rPr lang="en-US" altLang="zh-CN" sz="1100" dirty="0" smtClean="0">
                  <a:solidFill>
                    <a:schemeClr val="bg1"/>
                  </a:solidFill>
                </a:rPr>
                <a:t>.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 smtClean="0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 smtClean="0">
                  <a:solidFill>
                    <a:schemeClr val="bg1"/>
                  </a:solidFill>
                </a:rPr>
                <a:t> x-life ECO.</a:t>
              </a:r>
              <a:endParaRPr lang="zh-CN" alt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7" name="Group 114"/>
          <p:cNvGrpSpPr/>
          <p:nvPr/>
        </p:nvGrpSpPr>
        <p:grpSpPr bwMode="black">
          <a:xfrm>
            <a:off x="6121781" y="4277916"/>
            <a:ext cx="592056" cy="481664"/>
            <a:chOff x="5184775" y="225425"/>
            <a:chExt cx="1500188" cy="1220788"/>
          </a:xfrm>
          <a:solidFill>
            <a:srgbClr val="FFFFFF"/>
          </a:solidFill>
        </p:grpSpPr>
        <p:sp>
          <p:nvSpPr>
            <p:cNvPr id="98" name="Freeform 86"/>
            <p:cNvSpPr>
              <a:spLocks noEditPoints="1"/>
            </p:cNvSpPr>
            <p:nvPr/>
          </p:nvSpPr>
          <p:spPr bwMode="black">
            <a:xfrm>
              <a:off x="5184775" y="344488"/>
              <a:ext cx="1095375" cy="1101725"/>
            </a:xfrm>
            <a:custGeom>
              <a:avLst/>
              <a:gdLst>
                <a:gd name="T0" fmla="*/ 287 w 292"/>
                <a:gd name="T1" fmla="*/ 113 h 294"/>
                <a:gd name="T2" fmla="*/ 239 w 292"/>
                <a:gd name="T3" fmla="*/ 105 h 294"/>
                <a:gd name="T4" fmla="*/ 252 w 292"/>
                <a:gd name="T5" fmla="*/ 58 h 294"/>
                <a:gd name="T6" fmla="*/ 229 w 292"/>
                <a:gd name="T7" fmla="*/ 32 h 294"/>
                <a:gd name="T8" fmla="*/ 187 w 292"/>
                <a:gd name="T9" fmla="*/ 57 h 294"/>
                <a:gd name="T10" fmla="*/ 167 w 292"/>
                <a:gd name="T11" fmla="*/ 6 h 294"/>
                <a:gd name="T12" fmla="*/ 132 w 292"/>
                <a:gd name="T13" fmla="*/ 0 h 294"/>
                <a:gd name="T14" fmla="*/ 115 w 292"/>
                <a:gd name="T15" fmla="*/ 53 h 294"/>
                <a:gd name="T16" fmla="*/ 72 w 292"/>
                <a:gd name="T17" fmla="*/ 31 h 294"/>
                <a:gd name="T18" fmla="*/ 42 w 292"/>
                <a:gd name="T19" fmla="*/ 49 h 294"/>
                <a:gd name="T20" fmla="*/ 59 w 292"/>
                <a:gd name="T21" fmla="*/ 95 h 294"/>
                <a:gd name="T22" fmla="*/ 12 w 292"/>
                <a:gd name="T23" fmla="*/ 107 h 294"/>
                <a:gd name="T24" fmla="*/ 0 w 292"/>
                <a:gd name="T25" fmla="*/ 140 h 294"/>
                <a:gd name="T26" fmla="*/ 43 w 292"/>
                <a:gd name="T27" fmla="*/ 164 h 294"/>
                <a:gd name="T28" fmla="*/ 14 w 292"/>
                <a:gd name="T29" fmla="*/ 204 h 294"/>
                <a:gd name="T30" fmla="*/ 27 w 292"/>
                <a:gd name="T31" fmla="*/ 237 h 294"/>
                <a:gd name="T32" fmla="*/ 75 w 292"/>
                <a:gd name="T33" fmla="*/ 227 h 294"/>
                <a:gd name="T34" fmla="*/ 79 w 292"/>
                <a:gd name="T35" fmla="*/ 276 h 294"/>
                <a:gd name="T36" fmla="*/ 109 w 292"/>
                <a:gd name="T37" fmla="*/ 293 h 294"/>
                <a:gd name="T38" fmla="*/ 140 w 292"/>
                <a:gd name="T39" fmla="*/ 255 h 294"/>
                <a:gd name="T40" fmla="*/ 152 w 292"/>
                <a:gd name="T41" fmla="*/ 255 h 294"/>
                <a:gd name="T42" fmla="*/ 183 w 292"/>
                <a:gd name="T43" fmla="*/ 293 h 294"/>
                <a:gd name="T44" fmla="*/ 213 w 292"/>
                <a:gd name="T45" fmla="*/ 276 h 294"/>
                <a:gd name="T46" fmla="*/ 217 w 292"/>
                <a:gd name="T47" fmla="*/ 227 h 294"/>
                <a:gd name="T48" fmla="*/ 265 w 292"/>
                <a:gd name="T49" fmla="*/ 237 h 294"/>
                <a:gd name="T50" fmla="*/ 278 w 292"/>
                <a:gd name="T51" fmla="*/ 204 h 294"/>
                <a:gd name="T52" fmla="*/ 249 w 292"/>
                <a:gd name="T53" fmla="*/ 164 h 294"/>
                <a:gd name="T54" fmla="*/ 292 w 292"/>
                <a:gd name="T55" fmla="*/ 140 h 294"/>
                <a:gd name="T56" fmla="*/ 187 w 292"/>
                <a:gd name="T57" fmla="*/ 193 h 294"/>
                <a:gd name="T58" fmla="*/ 105 w 292"/>
                <a:gd name="T59" fmla="*/ 193 h 294"/>
                <a:gd name="T60" fmla="*/ 105 w 292"/>
                <a:gd name="T61" fmla="*/ 111 h 294"/>
                <a:gd name="T62" fmla="*/ 187 w 292"/>
                <a:gd name="T63" fmla="*/ 11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294">
                  <a:moveTo>
                    <a:pt x="292" y="140"/>
                  </a:moveTo>
                  <a:cubicBezTo>
                    <a:pt x="287" y="113"/>
                    <a:pt x="287" y="113"/>
                    <a:pt x="287" y="113"/>
                  </a:cubicBezTo>
                  <a:cubicBezTo>
                    <a:pt x="286" y="110"/>
                    <a:pt x="284" y="108"/>
                    <a:pt x="280" y="107"/>
                  </a:cubicBezTo>
                  <a:cubicBezTo>
                    <a:pt x="239" y="105"/>
                    <a:pt x="239" y="105"/>
                    <a:pt x="239" y="105"/>
                  </a:cubicBezTo>
                  <a:cubicBezTo>
                    <a:pt x="237" y="102"/>
                    <a:pt x="235" y="98"/>
                    <a:pt x="233" y="95"/>
                  </a:cubicBezTo>
                  <a:cubicBezTo>
                    <a:pt x="252" y="58"/>
                    <a:pt x="252" y="58"/>
                    <a:pt x="252" y="58"/>
                  </a:cubicBezTo>
                  <a:cubicBezTo>
                    <a:pt x="254" y="55"/>
                    <a:pt x="253" y="51"/>
                    <a:pt x="250" y="49"/>
                  </a:cubicBezTo>
                  <a:cubicBezTo>
                    <a:pt x="229" y="32"/>
                    <a:pt x="229" y="32"/>
                    <a:pt x="229" y="32"/>
                  </a:cubicBezTo>
                  <a:cubicBezTo>
                    <a:pt x="227" y="29"/>
                    <a:pt x="223" y="29"/>
                    <a:pt x="220" y="31"/>
                  </a:cubicBezTo>
                  <a:cubicBezTo>
                    <a:pt x="187" y="57"/>
                    <a:pt x="187" y="57"/>
                    <a:pt x="187" y="57"/>
                  </a:cubicBezTo>
                  <a:cubicBezTo>
                    <a:pt x="184" y="55"/>
                    <a:pt x="181" y="54"/>
                    <a:pt x="177" y="53"/>
                  </a:cubicBezTo>
                  <a:cubicBezTo>
                    <a:pt x="167" y="6"/>
                    <a:pt x="167" y="6"/>
                    <a:pt x="167" y="6"/>
                  </a:cubicBezTo>
                  <a:cubicBezTo>
                    <a:pt x="166" y="3"/>
                    <a:pt x="163" y="0"/>
                    <a:pt x="160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9" y="0"/>
                    <a:pt x="126" y="3"/>
                    <a:pt x="125" y="6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11" y="54"/>
                    <a:pt x="108" y="55"/>
                    <a:pt x="105" y="57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69" y="29"/>
                    <a:pt x="65" y="29"/>
                    <a:pt x="63" y="31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39" y="51"/>
                    <a:pt x="39" y="55"/>
                    <a:pt x="40" y="58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57" y="98"/>
                    <a:pt x="55" y="102"/>
                    <a:pt x="53" y="105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07"/>
                    <a:pt x="6" y="110"/>
                    <a:pt x="5" y="113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3"/>
                    <a:pt x="1" y="147"/>
                    <a:pt x="4" y="148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4" y="168"/>
                    <a:pt x="44" y="172"/>
                    <a:pt x="45" y="176"/>
                  </a:cubicBezTo>
                  <a:cubicBezTo>
                    <a:pt x="14" y="204"/>
                    <a:pt x="14" y="204"/>
                    <a:pt x="14" y="204"/>
                  </a:cubicBezTo>
                  <a:cubicBezTo>
                    <a:pt x="12" y="206"/>
                    <a:pt x="11" y="210"/>
                    <a:pt x="13" y="213"/>
                  </a:cubicBezTo>
                  <a:cubicBezTo>
                    <a:pt x="27" y="237"/>
                    <a:pt x="27" y="237"/>
                    <a:pt x="27" y="237"/>
                  </a:cubicBezTo>
                  <a:cubicBezTo>
                    <a:pt x="28" y="239"/>
                    <a:pt x="32" y="241"/>
                    <a:pt x="35" y="240"/>
                  </a:cubicBezTo>
                  <a:cubicBezTo>
                    <a:pt x="75" y="227"/>
                    <a:pt x="75" y="227"/>
                    <a:pt x="75" y="227"/>
                  </a:cubicBezTo>
                  <a:cubicBezTo>
                    <a:pt x="78" y="230"/>
                    <a:pt x="81" y="233"/>
                    <a:pt x="84" y="235"/>
                  </a:cubicBezTo>
                  <a:cubicBezTo>
                    <a:pt x="79" y="276"/>
                    <a:pt x="79" y="276"/>
                    <a:pt x="79" y="276"/>
                  </a:cubicBezTo>
                  <a:cubicBezTo>
                    <a:pt x="78" y="280"/>
                    <a:pt x="80" y="283"/>
                    <a:pt x="83" y="284"/>
                  </a:cubicBezTo>
                  <a:cubicBezTo>
                    <a:pt x="109" y="293"/>
                    <a:pt x="109" y="293"/>
                    <a:pt x="109" y="293"/>
                  </a:cubicBezTo>
                  <a:cubicBezTo>
                    <a:pt x="112" y="294"/>
                    <a:pt x="116" y="293"/>
                    <a:pt x="118" y="291"/>
                  </a:cubicBezTo>
                  <a:cubicBezTo>
                    <a:pt x="140" y="255"/>
                    <a:pt x="140" y="255"/>
                    <a:pt x="140" y="255"/>
                  </a:cubicBezTo>
                  <a:cubicBezTo>
                    <a:pt x="142" y="255"/>
                    <a:pt x="144" y="256"/>
                    <a:pt x="146" y="256"/>
                  </a:cubicBezTo>
                  <a:cubicBezTo>
                    <a:pt x="148" y="256"/>
                    <a:pt x="150" y="255"/>
                    <a:pt x="152" y="255"/>
                  </a:cubicBezTo>
                  <a:cubicBezTo>
                    <a:pt x="174" y="291"/>
                    <a:pt x="174" y="291"/>
                    <a:pt x="174" y="291"/>
                  </a:cubicBezTo>
                  <a:cubicBezTo>
                    <a:pt x="176" y="293"/>
                    <a:pt x="180" y="294"/>
                    <a:pt x="183" y="293"/>
                  </a:cubicBezTo>
                  <a:cubicBezTo>
                    <a:pt x="209" y="284"/>
                    <a:pt x="209" y="284"/>
                    <a:pt x="209" y="284"/>
                  </a:cubicBezTo>
                  <a:cubicBezTo>
                    <a:pt x="212" y="283"/>
                    <a:pt x="214" y="280"/>
                    <a:pt x="213" y="276"/>
                  </a:cubicBezTo>
                  <a:cubicBezTo>
                    <a:pt x="208" y="235"/>
                    <a:pt x="208" y="235"/>
                    <a:pt x="208" y="235"/>
                  </a:cubicBezTo>
                  <a:cubicBezTo>
                    <a:pt x="211" y="232"/>
                    <a:pt x="214" y="230"/>
                    <a:pt x="217" y="227"/>
                  </a:cubicBezTo>
                  <a:cubicBezTo>
                    <a:pt x="257" y="240"/>
                    <a:pt x="257" y="240"/>
                    <a:pt x="257" y="240"/>
                  </a:cubicBezTo>
                  <a:cubicBezTo>
                    <a:pt x="260" y="241"/>
                    <a:pt x="264" y="239"/>
                    <a:pt x="265" y="237"/>
                  </a:cubicBezTo>
                  <a:cubicBezTo>
                    <a:pt x="279" y="213"/>
                    <a:pt x="279" y="213"/>
                    <a:pt x="279" y="213"/>
                  </a:cubicBezTo>
                  <a:cubicBezTo>
                    <a:pt x="281" y="210"/>
                    <a:pt x="280" y="206"/>
                    <a:pt x="278" y="204"/>
                  </a:cubicBezTo>
                  <a:cubicBezTo>
                    <a:pt x="247" y="176"/>
                    <a:pt x="247" y="176"/>
                    <a:pt x="247" y="176"/>
                  </a:cubicBezTo>
                  <a:cubicBezTo>
                    <a:pt x="248" y="172"/>
                    <a:pt x="248" y="168"/>
                    <a:pt x="249" y="164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291" y="147"/>
                    <a:pt x="292" y="144"/>
                    <a:pt x="292" y="140"/>
                  </a:cubicBezTo>
                  <a:close/>
                  <a:moveTo>
                    <a:pt x="204" y="152"/>
                  </a:moveTo>
                  <a:cubicBezTo>
                    <a:pt x="204" y="168"/>
                    <a:pt x="197" y="182"/>
                    <a:pt x="187" y="193"/>
                  </a:cubicBezTo>
                  <a:cubicBezTo>
                    <a:pt x="176" y="203"/>
                    <a:pt x="162" y="210"/>
                    <a:pt x="146" y="210"/>
                  </a:cubicBezTo>
                  <a:cubicBezTo>
                    <a:pt x="130" y="210"/>
                    <a:pt x="116" y="203"/>
                    <a:pt x="105" y="193"/>
                  </a:cubicBezTo>
                  <a:cubicBezTo>
                    <a:pt x="95" y="182"/>
                    <a:pt x="88" y="168"/>
                    <a:pt x="88" y="152"/>
                  </a:cubicBezTo>
                  <a:cubicBezTo>
                    <a:pt x="88" y="136"/>
                    <a:pt x="95" y="121"/>
                    <a:pt x="105" y="111"/>
                  </a:cubicBezTo>
                  <a:cubicBezTo>
                    <a:pt x="116" y="100"/>
                    <a:pt x="130" y="94"/>
                    <a:pt x="146" y="94"/>
                  </a:cubicBezTo>
                  <a:cubicBezTo>
                    <a:pt x="162" y="94"/>
                    <a:pt x="176" y="100"/>
                    <a:pt x="187" y="111"/>
                  </a:cubicBezTo>
                  <a:cubicBezTo>
                    <a:pt x="197" y="121"/>
                    <a:pt x="204" y="136"/>
                    <a:pt x="204" y="1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99" name="Oval 87"/>
            <p:cNvSpPr>
              <a:spLocks noChangeArrowheads="1"/>
            </p:cNvSpPr>
            <p:nvPr/>
          </p:nvSpPr>
          <p:spPr bwMode="black">
            <a:xfrm>
              <a:off x="5630863" y="812800"/>
              <a:ext cx="203200" cy="203200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0" name="Freeform 88"/>
            <p:cNvSpPr>
              <a:spLocks noEditPoints="1"/>
            </p:cNvSpPr>
            <p:nvPr/>
          </p:nvSpPr>
          <p:spPr bwMode="black">
            <a:xfrm>
              <a:off x="6129338" y="225425"/>
              <a:ext cx="555625" cy="598488"/>
            </a:xfrm>
            <a:custGeom>
              <a:avLst/>
              <a:gdLst>
                <a:gd name="T0" fmla="*/ 129 w 148"/>
                <a:gd name="T1" fmla="*/ 91 h 160"/>
                <a:gd name="T2" fmla="*/ 131 w 148"/>
                <a:gd name="T3" fmla="*/ 80 h 160"/>
                <a:gd name="T4" fmla="*/ 129 w 148"/>
                <a:gd name="T5" fmla="*/ 70 h 160"/>
                <a:gd name="T6" fmla="*/ 145 w 148"/>
                <a:gd name="T7" fmla="*/ 55 h 160"/>
                <a:gd name="T8" fmla="*/ 147 w 148"/>
                <a:gd name="T9" fmla="*/ 50 h 160"/>
                <a:gd name="T10" fmla="*/ 147 w 148"/>
                <a:gd name="T11" fmla="*/ 46 h 160"/>
                <a:gd name="T12" fmla="*/ 140 w 148"/>
                <a:gd name="T13" fmla="*/ 34 h 160"/>
                <a:gd name="T14" fmla="*/ 133 w 148"/>
                <a:gd name="T15" fmla="*/ 31 h 160"/>
                <a:gd name="T16" fmla="*/ 131 w 148"/>
                <a:gd name="T17" fmla="*/ 31 h 160"/>
                <a:gd name="T18" fmla="*/ 111 w 148"/>
                <a:gd name="T19" fmla="*/ 37 h 160"/>
                <a:gd name="T20" fmla="*/ 92 w 148"/>
                <a:gd name="T21" fmla="*/ 27 h 160"/>
                <a:gd name="T22" fmla="*/ 88 w 148"/>
                <a:gd name="T23" fmla="*/ 6 h 160"/>
                <a:gd name="T24" fmla="*/ 81 w 148"/>
                <a:gd name="T25" fmla="*/ 0 h 160"/>
                <a:gd name="T26" fmla="*/ 67 w 148"/>
                <a:gd name="T27" fmla="*/ 0 h 160"/>
                <a:gd name="T28" fmla="*/ 60 w 148"/>
                <a:gd name="T29" fmla="*/ 6 h 160"/>
                <a:gd name="T30" fmla="*/ 55 w 148"/>
                <a:gd name="T31" fmla="*/ 27 h 160"/>
                <a:gd name="T32" fmla="*/ 37 w 148"/>
                <a:gd name="T33" fmla="*/ 38 h 160"/>
                <a:gd name="T34" fmla="*/ 16 w 148"/>
                <a:gd name="T35" fmla="*/ 31 h 160"/>
                <a:gd name="T36" fmla="*/ 14 w 148"/>
                <a:gd name="T37" fmla="*/ 31 h 160"/>
                <a:gd name="T38" fmla="*/ 8 w 148"/>
                <a:gd name="T39" fmla="*/ 34 h 160"/>
                <a:gd name="T40" fmla="*/ 1 w 148"/>
                <a:gd name="T41" fmla="*/ 46 h 160"/>
                <a:gd name="T42" fmla="*/ 0 w 148"/>
                <a:gd name="T43" fmla="*/ 50 h 160"/>
                <a:gd name="T44" fmla="*/ 2 w 148"/>
                <a:gd name="T45" fmla="*/ 55 h 160"/>
                <a:gd name="T46" fmla="*/ 19 w 148"/>
                <a:gd name="T47" fmla="*/ 70 h 160"/>
                <a:gd name="T48" fmla="*/ 17 w 148"/>
                <a:gd name="T49" fmla="*/ 80 h 160"/>
                <a:gd name="T50" fmla="*/ 19 w 148"/>
                <a:gd name="T51" fmla="*/ 91 h 160"/>
                <a:gd name="T52" fmla="*/ 2 w 148"/>
                <a:gd name="T53" fmla="*/ 106 h 160"/>
                <a:gd name="T54" fmla="*/ 0 w 148"/>
                <a:gd name="T55" fmla="*/ 111 h 160"/>
                <a:gd name="T56" fmla="*/ 1 w 148"/>
                <a:gd name="T57" fmla="*/ 114 h 160"/>
                <a:gd name="T58" fmla="*/ 8 w 148"/>
                <a:gd name="T59" fmla="*/ 126 h 160"/>
                <a:gd name="T60" fmla="*/ 14 w 148"/>
                <a:gd name="T61" fmla="*/ 130 h 160"/>
                <a:gd name="T62" fmla="*/ 16 w 148"/>
                <a:gd name="T63" fmla="*/ 130 h 160"/>
                <a:gd name="T64" fmla="*/ 37 w 148"/>
                <a:gd name="T65" fmla="*/ 123 h 160"/>
                <a:gd name="T66" fmla="*/ 55 w 148"/>
                <a:gd name="T67" fmla="*/ 133 h 160"/>
                <a:gd name="T68" fmla="*/ 60 w 148"/>
                <a:gd name="T69" fmla="*/ 155 h 160"/>
                <a:gd name="T70" fmla="*/ 67 w 148"/>
                <a:gd name="T71" fmla="*/ 160 h 160"/>
                <a:gd name="T72" fmla="*/ 81 w 148"/>
                <a:gd name="T73" fmla="*/ 160 h 160"/>
                <a:gd name="T74" fmla="*/ 88 w 148"/>
                <a:gd name="T75" fmla="*/ 155 h 160"/>
                <a:gd name="T76" fmla="*/ 92 w 148"/>
                <a:gd name="T77" fmla="*/ 134 h 160"/>
                <a:gd name="T78" fmla="*/ 111 w 148"/>
                <a:gd name="T79" fmla="*/ 123 h 160"/>
                <a:gd name="T80" fmla="*/ 131 w 148"/>
                <a:gd name="T81" fmla="*/ 130 h 160"/>
                <a:gd name="T82" fmla="*/ 133 w 148"/>
                <a:gd name="T83" fmla="*/ 130 h 160"/>
                <a:gd name="T84" fmla="*/ 140 w 148"/>
                <a:gd name="T85" fmla="*/ 126 h 160"/>
                <a:gd name="T86" fmla="*/ 147 w 148"/>
                <a:gd name="T87" fmla="*/ 114 h 160"/>
                <a:gd name="T88" fmla="*/ 147 w 148"/>
                <a:gd name="T89" fmla="*/ 111 h 160"/>
                <a:gd name="T90" fmla="*/ 145 w 148"/>
                <a:gd name="T91" fmla="*/ 106 h 160"/>
                <a:gd name="T92" fmla="*/ 129 w 148"/>
                <a:gd name="T93" fmla="*/ 91 h 160"/>
                <a:gd name="T94" fmla="*/ 96 w 148"/>
                <a:gd name="T95" fmla="*/ 80 h 160"/>
                <a:gd name="T96" fmla="*/ 74 w 148"/>
                <a:gd name="T97" fmla="*/ 102 h 160"/>
                <a:gd name="T98" fmla="*/ 52 w 148"/>
                <a:gd name="T99" fmla="*/ 80 h 160"/>
                <a:gd name="T100" fmla="*/ 74 w 148"/>
                <a:gd name="T101" fmla="*/ 58 h 160"/>
                <a:gd name="T102" fmla="*/ 96 w 148"/>
                <a:gd name="T103" fmla="*/ 8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8" h="160">
                  <a:moveTo>
                    <a:pt x="129" y="91"/>
                  </a:moveTo>
                  <a:cubicBezTo>
                    <a:pt x="130" y="88"/>
                    <a:pt x="131" y="84"/>
                    <a:pt x="131" y="80"/>
                  </a:cubicBezTo>
                  <a:cubicBezTo>
                    <a:pt x="131" y="77"/>
                    <a:pt x="130" y="73"/>
                    <a:pt x="129" y="70"/>
                  </a:cubicBezTo>
                  <a:cubicBezTo>
                    <a:pt x="145" y="55"/>
                    <a:pt x="145" y="55"/>
                    <a:pt x="145" y="55"/>
                  </a:cubicBezTo>
                  <a:cubicBezTo>
                    <a:pt x="147" y="54"/>
                    <a:pt x="147" y="52"/>
                    <a:pt x="147" y="50"/>
                  </a:cubicBezTo>
                  <a:cubicBezTo>
                    <a:pt x="147" y="49"/>
                    <a:pt x="147" y="47"/>
                    <a:pt x="147" y="46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138" y="32"/>
                    <a:pt x="136" y="31"/>
                    <a:pt x="133" y="31"/>
                  </a:cubicBezTo>
                  <a:cubicBezTo>
                    <a:pt x="133" y="31"/>
                    <a:pt x="132" y="31"/>
                    <a:pt x="131" y="31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05" y="33"/>
                    <a:pt x="99" y="29"/>
                    <a:pt x="92" y="27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87" y="3"/>
                    <a:pt x="84" y="0"/>
                    <a:pt x="8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3" y="0"/>
                    <a:pt x="61" y="3"/>
                    <a:pt x="60" y="6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48" y="29"/>
                    <a:pt x="42" y="33"/>
                    <a:pt x="37" y="38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5" y="31"/>
                    <a:pt x="15" y="31"/>
                    <a:pt x="14" y="31"/>
                  </a:cubicBezTo>
                  <a:cubicBezTo>
                    <a:pt x="12" y="31"/>
                    <a:pt x="9" y="32"/>
                    <a:pt x="8" y="34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0" y="47"/>
                    <a:pt x="0" y="49"/>
                    <a:pt x="0" y="50"/>
                  </a:cubicBezTo>
                  <a:cubicBezTo>
                    <a:pt x="0" y="52"/>
                    <a:pt x="1" y="54"/>
                    <a:pt x="2" y="55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8" y="73"/>
                    <a:pt x="17" y="77"/>
                    <a:pt x="17" y="80"/>
                  </a:cubicBezTo>
                  <a:cubicBezTo>
                    <a:pt x="17" y="84"/>
                    <a:pt x="18" y="87"/>
                    <a:pt x="19" y="91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107"/>
                    <a:pt x="0" y="109"/>
                    <a:pt x="0" y="111"/>
                  </a:cubicBezTo>
                  <a:cubicBezTo>
                    <a:pt x="0" y="112"/>
                    <a:pt x="0" y="113"/>
                    <a:pt x="1" y="114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9" y="129"/>
                    <a:pt x="12" y="130"/>
                    <a:pt x="14" y="130"/>
                  </a:cubicBezTo>
                  <a:cubicBezTo>
                    <a:pt x="15" y="130"/>
                    <a:pt x="15" y="130"/>
                    <a:pt x="16" y="130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42" y="127"/>
                    <a:pt x="48" y="131"/>
                    <a:pt x="55" y="133"/>
                  </a:cubicBezTo>
                  <a:cubicBezTo>
                    <a:pt x="60" y="155"/>
                    <a:pt x="60" y="155"/>
                    <a:pt x="60" y="155"/>
                  </a:cubicBezTo>
                  <a:cubicBezTo>
                    <a:pt x="61" y="158"/>
                    <a:pt x="63" y="160"/>
                    <a:pt x="67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4" y="160"/>
                    <a:pt x="87" y="158"/>
                    <a:pt x="88" y="155"/>
                  </a:cubicBezTo>
                  <a:cubicBezTo>
                    <a:pt x="92" y="134"/>
                    <a:pt x="92" y="134"/>
                    <a:pt x="92" y="134"/>
                  </a:cubicBezTo>
                  <a:cubicBezTo>
                    <a:pt x="99" y="131"/>
                    <a:pt x="105" y="128"/>
                    <a:pt x="111" y="123"/>
                  </a:cubicBezTo>
                  <a:cubicBezTo>
                    <a:pt x="131" y="130"/>
                    <a:pt x="131" y="130"/>
                    <a:pt x="131" y="130"/>
                  </a:cubicBezTo>
                  <a:cubicBezTo>
                    <a:pt x="132" y="130"/>
                    <a:pt x="133" y="130"/>
                    <a:pt x="133" y="130"/>
                  </a:cubicBezTo>
                  <a:cubicBezTo>
                    <a:pt x="136" y="130"/>
                    <a:pt x="138" y="129"/>
                    <a:pt x="140" y="126"/>
                  </a:cubicBezTo>
                  <a:cubicBezTo>
                    <a:pt x="147" y="114"/>
                    <a:pt x="147" y="114"/>
                    <a:pt x="147" y="114"/>
                  </a:cubicBezTo>
                  <a:cubicBezTo>
                    <a:pt x="147" y="113"/>
                    <a:pt x="148" y="112"/>
                    <a:pt x="147" y="111"/>
                  </a:cubicBezTo>
                  <a:cubicBezTo>
                    <a:pt x="148" y="109"/>
                    <a:pt x="147" y="107"/>
                    <a:pt x="145" y="106"/>
                  </a:cubicBezTo>
                  <a:lnTo>
                    <a:pt x="129" y="91"/>
                  </a:lnTo>
                  <a:close/>
                  <a:moveTo>
                    <a:pt x="96" y="80"/>
                  </a:moveTo>
                  <a:cubicBezTo>
                    <a:pt x="96" y="92"/>
                    <a:pt x="86" y="102"/>
                    <a:pt x="74" y="102"/>
                  </a:cubicBezTo>
                  <a:cubicBezTo>
                    <a:pt x="62" y="102"/>
                    <a:pt x="52" y="92"/>
                    <a:pt x="52" y="80"/>
                  </a:cubicBezTo>
                  <a:cubicBezTo>
                    <a:pt x="52" y="68"/>
                    <a:pt x="62" y="58"/>
                    <a:pt x="74" y="58"/>
                  </a:cubicBezTo>
                  <a:cubicBezTo>
                    <a:pt x="86" y="58"/>
                    <a:pt x="96" y="68"/>
                    <a:pt x="96" y="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pic>
        <p:nvPicPr>
          <p:cNvPr id="56" name="图片 5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33" b="42984"/>
          <a:stretch>
            <a:fillRect/>
          </a:stretch>
        </p:blipFill>
        <p:spPr>
          <a:xfrm>
            <a:off x="0" y="1957137"/>
            <a:ext cx="12220686" cy="1925053"/>
          </a:xfrm>
          <a:prstGeom prst="rect">
            <a:avLst/>
          </a:prstGeom>
        </p:spPr>
      </p:pic>
      <p:grpSp>
        <p:nvGrpSpPr>
          <p:cNvPr id="102" name="组合 101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03" name="组合 102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11" name="矩形 11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2" name="文本框 11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13" name="文本框 11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14" name="直接连接符 11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5" name="椭圆 11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6" name="文本框 11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4" name="组合 103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09" name="六边形 10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05" name="组合 104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06" name="六边形 105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7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肘形连接符 74"/>
          <p:cNvCxnSpPr/>
          <p:nvPr/>
        </p:nvCxnSpPr>
        <p:spPr>
          <a:xfrm rot="5400000">
            <a:off x="4746602" y="3383864"/>
            <a:ext cx="28731" cy="1087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组合 76"/>
          <p:cNvGrpSpPr/>
          <p:nvPr/>
        </p:nvGrpSpPr>
        <p:grpSpPr>
          <a:xfrm>
            <a:off x="1557465" y="2196112"/>
            <a:ext cx="9399320" cy="3200898"/>
            <a:chOff x="551384" y="1793631"/>
            <a:chExt cx="11687508" cy="5248793"/>
          </a:xfrm>
        </p:grpSpPr>
        <p:sp>
          <p:nvSpPr>
            <p:cNvPr id="78" name="任意多边形 77"/>
            <p:cNvSpPr/>
            <p:nvPr/>
          </p:nvSpPr>
          <p:spPr>
            <a:xfrm>
              <a:off x="551384" y="1793631"/>
              <a:ext cx="11652339" cy="5169877"/>
            </a:xfrm>
            <a:custGeom>
              <a:avLst/>
              <a:gdLst>
                <a:gd name="connsiteX0" fmla="*/ 140677 w 11394831"/>
                <a:gd name="connsiteY0" fmla="*/ 2461846 h 5169877"/>
                <a:gd name="connsiteX1" fmla="*/ 1969477 w 11394831"/>
                <a:gd name="connsiteY1" fmla="*/ 0 h 5169877"/>
                <a:gd name="connsiteX2" fmla="*/ 4009293 w 11394831"/>
                <a:gd name="connsiteY2" fmla="*/ 844061 h 5169877"/>
                <a:gd name="connsiteX3" fmla="*/ 5697416 w 11394831"/>
                <a:gd name="connsiteY3" fmla="*/ 457200 h 5169877"/>
                <a:gd name="connsiteX4" fmla="*/ 7561385 w 11394831"/>
                <a:gd name="connsiteY4" fmla="*/ 984738 h 5169877"/>
                <a:gd name="connsiteX5" fmla="*/ 9249508 w 11394831"/>
                <a:gd name="connsiteY5" fmla="*/ 597877 h 5169877"/>
                <a:gd name="connsiteX6" fmla="*/ 11148646 w 11394831"/>
                <a:gd name="connsiteY6" fmla="*/ 1371600 h 5169877"/>
                <a:gd name="connsiteX7" fmla="*/ 11359662 w 11394831"/>
                <a:gd name="connsiteY7" fmla="*/ 668215 h 5169877"/>
                <a:gd name="connsiteX8" fmla="*/ 11394831 w 11394831"/>
                <a:gd name="connsiteY8" fmla="*/ 5169877 h 5169877"/>
                <a:gd name="connsiteX9" fmla="*/ 0 w 11394831"/>
                <a:gd name="connsiteY9" fmla="*/ 5064369 h 5169877"/>
                <a:gd name="connsiteX10" fmla="*/ 140677 w 11394831"/>
                <a:gd name="connsiteY10" fmla="*/ 2461846 h 516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394831" h="5169877">
                  <a:moveTo>
                    <a:pt x="140677" y="2461846"/>
                  </a:moveTo>
                  <a:lnTo>
                    <a:pt x="1969477" y="0"/>
                  </a:lnTo>
                  <a:lnTo>
                    <a:pt x="4009293" y="844061"/>
                  </a:lnTo>
                  <a:lnTo>
                    <a:pt x="5697416" y="457200"/>
                  </a:lnTo>
                  <a:lnTo>
                    <a:pt x="7561385" y="984738"/>
                  </a:lnTo>
                  <a:lnTo>
                    <a:pt x="9249508" y="597877"/>
                  </a:lnTo>
                  <a:lnTo>
                    <a:pt x="11148646" y="1371600"/>
                  </a:lnTo>
                  <a:lnTo>
                    <a:pt x="11359662" y="668215"/>
                  </a:lnTo>
                  <a:lnTo>
                    <a:pt x="11394831" y="5169877"/>
                  </a:lnTo>
                  <a:lnTo>
                    <a:pt x="0" y="5064369"/>
                  </a:lnTo>
                  <a:lnTo>
                    <a:pt x="140677" y="246184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9" name="任意多边形 78"/>
            <p:cNvSpPr/>
            <p:nvPr/>
          </p:nvSpPr>
          <p:spPr>
            <a:xfrm>
              <a:off x="562708" y="3024554"/>
              <a:ext cx="11676184" cy="3868615"/>
            </a:xfrm>
            <a:custGeom>
              <a:avLst/>
              <a:gdLst>
                <a:gd name="connsiteX0" fmla="*/ 70338 w 11676184"/>
                <a:gd name="connsiteY0" fmla="*/ 1793631 h 3868615"/>
                <a:gd name="connsiteX1" fmla="*/ 2883877 w 11676184"/>
                <a:gd name="connsiteY1" fmla="*/ 2074984 h 3868615"/>
                <a:gd name="connsiteX2" fmla="*/ 5662246 w 11676184"/>
                <a:gd name="connsiteY2" fmla="*/ 211015 h 3868615"/>
                <a:gd name="connsiteX3" fmla="*/ 7913077 w 11676184"/>
                <a:gd name="connsiteY3" fmla="*/ 949569 h 3868615"/>
                <a:gd name="connsiteX4" fmla="*/ 9390184 w 11676184"/>
                <a:gd name="connsiteY4" fmla="*/ 0 h 3868615"/>
                <a:gd name="connsiteX5" fmla="*/ 10796954 w 11676184"/>
                <a:gd name="connsiteY5" fmla="*/ 1160584 h 3868615"/>
                <a:gd name="connsiteX6" fmla="*/ 11605846 w 11676184"/>
                <a:gd name="connsiteY6" fmla="*/ 281354 h 3868615"/>
                <a:gd name="connsiteX7" fmla="*/ 11676184 w 11676184"/>
                <a:gd name="connsiteY7" fmla="*/ 3868615 h 3868615"/>
                <a:gd name="connsiteX8" fmla="*/ 0 w 11676184"/>
                <a:gd name="connsiteY8" fmla="*/ 3763108 h 3868615"/>
                <a:gd name="connsiteX9" fmla="*/ 70338 w 11676184"/>
                <a:gd name="connsiteY9" fmla="*/ 1793631 h 3868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76184" h="3868615">
                  <a:moveTo>
                    <a:pt x="70338" y="1793631"/>
                  </a:moveTo>
                  <a:lnTo>
                    <a:pt x="2883877" y="2074984"/>
                  </a:lnTo>
                  <a:lnTo>
                    <a:pt x="5662246" y="211015"/>
                  </a:lnTo>
                  <a:lnTo>
                    <a:pt x="7913077" y="949569"/>
                  </a:lnTo>
                  <a:lnTo>
                    <a:pt x="9390184" y="0"/>
                  </a:lnTo>
                  <a:lnTo>
                    <a:pt x="10796954" y="1160584"/>
                  </a:lnTo>
                  <a:lnTo>
                    <a:pt x="11605846" y="281354"/>
                  </a:lnTo>
                  <a:lnTo>
                    <a:pt x="11676184" y="3868615"/>
                  </a:lnTo>
                  <a:lnTo>
                    <a:pt x="0" y="3763108"/>
                  </a:lnTo>
                  <a:lnTo>
                    <a:pt x="70338" y="179363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84" name="任意多边形 83"/>
            <p:cNvSpPr/>
            <p:nvPr/>
          </p:nvSpPr>
          <p:spPr>
            <a:xfrm>
              <a:off x="597878" y="4123379"/>
              <a:ext cx="11641014" cy="2919045"/>
            </a:xfrm>
            <a:custGeom>
              <a:avLst/>
              <a:gdLst>
                <a:gd name="connsiteX0" fmla="*/ 0 w 11641015"/>
                <a:gd name="connsiteY0" fmla="*/ 2004646 h 2919046"/>
                <a:gd name="connsiteX1" fmla="*/ 4853354 w 11641015"/>
                <a:gd name="connsiteY1" fmla="*/ 1688123 h 2919046"/>
                <a:gd name="connsiteX2" fmla="*/ 5838092 w 11641015"/>
                <a:gd name="connsiteY2" fmla="*/ 175846 h 2919046"/>
                <a:gd name="connsiteX3" fmla="*/ 8194431 w 11641015"/>
                <a:gd name="connsiteY3" fmla="*/ 1582615 h 2919046"/>
                <a:gd name="connsiteX4" fmla="*/ 9495692 w 11641015"/>
                <a:gd name="connsiteY4" fmla="*/ 0 h 2919046"/>
                <a:gd name="connsiteX5" fmla="*/ 10796954 w 11641015"/>
                <a:gd name="connsiteY5" fmla="*/ 1406769 h 2919046"/>
                <a:gd name="connsiteX6" fmla="*/ 11570677 w 11641015"/>
                <a:gd name="connsiteY6" fmla="*/ 422030 h 2919046"/>
                <a:gd name="connsiteX7" fmla="*/ 11641015 w 11641015"/>
                <a:gd name="connsiteY7" fmla="*/ 2919046 h 2919046"/>
                <a:gd name="connsiteX8" fmla="*/ 35169 w 11641015"/>
                <a:gd name="connsiteY8" fmla="*/ 2743200 h 2919046"/>
                <a:gd name="connsiteX9" fmla="*/ 0 w 11641015"/>
                <a:gd name="connsiteY9" fmla="*/ 2004646 h 2919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41015" h="2919046">
                  <a:moveTo>
                    <a:pt x="0" y="2004646"/>
                  </a:moveTo>
                  <a:lnTo>
                    <a:pt x="4853354" y="1688123"/>
                  </a:lnTo>
                  <a:lnTo>
                    <a:pt x="5838092" y="175846"/>
                  </a:lnTo>
                  <a:lnTo>
                    <a:pt x="8194431" y="1582615"/>
                  </a:lnTo>
                  <a:lnTo>
                    <a:pt x="9495692" y="0"/>
                  </a:lnTo>
                  <a:lnTo>
                    <a:pt x="10796954" y="1406769"/>
                  </a:lnTo>
                  <a:lnTo>
                    <a:pt x="11570677" y="422030"/>
                  </a:lnTo>
                  <a:lnTo>
                    <a:pt x="11641015" y="2919046"/>
                  </a:lnTo>
                  <a:lnTo>
                    <a:pt x="35169" y="2743200"/>
                  </a:lnTo>
                  <a:lnTo>
                    <a:pt x="0" y="2004646"/>
                  </a:ln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86" name="文本框 85"/>
          <p:cNvSpPr txBox="1"/>
          <p:nvPr/>
        </p:nvSpPr>
        <p:spPr>
          <a:xfrm>
            <a:off x="3596953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1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7" name="文本框 86"/>
          <p:cNvSpPr txBox="1"/>
          <p:nvPr/>
        </p:nvSpPr>
        <p:spPr>
          <a:xfrm>
            <a:off x="5926178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2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8" name="文本框 87"/>
          <p:cNvSpPr txBox="1"/>
          <p:nvPr/>
        </p:nvSpPr>
        <p:spPr>
          <a:xfrm>
            <a:off x="8255403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3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5" name="文本框 84"/>
          <p:cNvSpPr txBox="1"/>
          <p:nvPr/>
        </p:nvSpPr>
        <p:spPr>
          <a:xfrm>
            <a:off x="1496301" y="5456441"/>
            <a:ext cx="294642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92" name="文本框 91"/>
          <p:cNvSpPr txBox="1"/>
          <p:nvPr/>
        </p:nvSpPr>
        <p:spPr>
          <a:xfrm>
            <a:off x="1267728" y="4225852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1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01" name="文本框 100"/>
          <p:cNvSpPr txBox="1"/>
          <p:nvPr/>
        </p:nvSpPr>
        <p:spPr>
          <a:xfrm>
            <a:off x="1267728" y="3149705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2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9229" y="6185784"/>
              <a:ext cx="26161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1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90" name="文本框 89"/>
          <p:cNvSpPr txBox="1"/>
          <p:nvPr/>
        </p:nvSpPr>
        <p:spPr>
          <a:xfrm>
            <a:off x="10584626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chemeClr val="bg1"/>
                </a:solidFill>
              </a:rPr>
              <a:t>4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104" name="组合 103"/>
          <p:cNvGrpSpPr/>
          <p:nvPr/>
        </p:nvGrpSpPr>
        <p:grpSpPr>
          <a:xfrm>
            <a:off x="2889943" y="1952910"/>
            <a:ext cx="533993" cy="282995"/>
            <a:chOff x="6117110" y="2473263"/>
            <a:chExt cx="533993" cy="282995"/>
          </a:xfrm>
        </p:grpSpPr>
        <p:grpSp>
          <p:nvGrpSpPr>
            <p:cNvPr id="105" name="组合 104"/>
            <p:cNvGrpSpPr/>
            <p:nvPr/>
          </p:nvGrpSpPr>
          <p:grpSpPr>
            <a:xfrm>
              <a:off x="6117110" y="2473263"/>
              <a:ext cx="533993" cy="230832"/>
              <a:chOff x="6006961" y="2363002"/>
              <a:chExt cx="533993" cy="23083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07" name="组合 106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09" name="六边形 10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95D127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0" name="等腰三角形 109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95D12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08" name="文本框 107"/>
              <p:cNvSpPr txBox="1"/>
              <p:nvPr/>
            </p:nvSpPr>
            <p:spPr>
              <a:xfrm>
                <a:off x="6043801" y="2363002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6" name="椭圆 105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95D127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1" name="组合 110"/>
          <p:cNvGrpSpPr/>
          <p:nvPr/>
        </p:nvGrpSpPr>
        <p:grpSpPr>
          <a:xfrm>
            <a:off x="3610760" y="3832800"/>
            <a:ext cx="533993" cy="293580"/>
            <a:chOff x="6117110" y="2462678"/>
            <a:chExt cx="533993" cy="293580"/>
          </a:xfrm>
        </p:grpSpPr>
        <p:grpSp>
          <p:nvGrpSpPr>
            <p:cNvPr id="112" name="组合 111"/>
            <p:cNvGrpSpPr/>
            <p:nvPr/>
          </p:nvGrpSpPr>
          <p:grpSpPr>
            <a:xfrm>
              <a:off x="6117110" y="2462678"/>
              <a:ext cx="533993" cy="237024"/>
              <a:chOff x="6006961" y="2352417"/>
              <a:chExt cx="533993" cy="23702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4" name="组合 113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6" name="六边形 115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7" name="等腰三角形 11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5" name="文本框 114"/>
              <p:cNvSpPr txBox="1"/>
              <p:nvPr/>
            </p:nvSpPr>
            <p:spPr>
              <a:xfrm>
                <a:off x="6037362" y="2352417"/>
                <a:ext cx="479618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13" name="椭圆 112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8" name="组合 117"/>
          <p:cNvGrpSpPr/>
          <p:nvPr/>
        </p:nvGrpSpPr>
        <p:grpSpPr>
          <a:xfrm>
            <a:off x="5913105" y="2162323"/>
            <a:ext cx="533993" cy="293579"/>
            <a:chOff x="6117110" y="2462679"/>
            <a:chExt cx="533993" cy="293579"/>
          </a:xfrm>
        </p:grpSpPr>
        <p:grpSp>
          <p:nvGrpSpPr>
            <p:cNvPr id="119" name="组合 118"/>
            <p:cNvGrpSpPr/>
            <p:nvPr/>
          </p:nvGrpSpPr>
          <p:grpSpPr>
            <a:xfrm>
              <a:off x="6117110" y="2462679"/>
              <a:ext cx="533993" cy="237023"/>
              <a:chOff x="6006961" y="2352418"/>
              <a:chExt cx="533993" cy="237023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1" name="组合 120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23" name="六边形 122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EE3551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4" name="等腰三角形 123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EE355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2" name="文本框 121"/>
              <p:cNvSpPr txBox="1"/>
              <p:nvPr/>
            </p:nvSpPr>
            <p:spPr>
              <a:xfrm>
                <a:off x="6037362" y="2352418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0" name="椭圆 119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EE355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5" name="组合 124"/>
          <p:cNvGrpSpPr/>
          <p:nvPr/>
        </p:nvGrpSpPr>
        <p:grpSpPr>
          <a:xfrm>
            <a:off x="7582390" y="3178025"/>
            <a:ext cx="533993" cy="297830"/>
            <a:chOff x="6117110" y="2458428"/>
            <a:chExt cx="533993" cy="297830"/>
          </a:xfrm>
        </p:grpSpPr>
        <p:grpSp>
          <p:nvGrpSpPr>
            <p:cNvPr id="126" name="组合 125"/>
            <p:cNvGrpSpPr/>
            <p:nvPr/>
          </p:nvGrpSpPr>
          <p:grpSpPr>
            <a:xfrm>
              <a:off x="6117110" y="2458428"/>
              <a:ext cx="533993" cy="241274"/>
              <a:chOff x="6006961" y="2348167"/>
              <a:chExt cx="533993" cy="24127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8" name="组合 127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30" name="六边形 129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8638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31" name="等腰三角形 130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86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9" name="文本框 128"/>
              <p:cNvSpPr txBox="1"/>
              <p:nvPr/>
            </p:nvSpPr>
            <p:spPr>
              <a:xfrm>
                <a:off x="6025223" y="2348167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7" name="椭圆 126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8638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2" name="组合 131"/>
          <p:cNvGrpSpPr/>
          <p:nvPr/>
        </p:nvGrpSpPr>
        <p:grpSpPr>
          <a:xfrm>
            <a:off x="8919973" y="2260130"/>
            <a:ext cx="533993" cy="291310"/>
            <a:chOff x="6117110" y="2464948"/>
            <a:chExt cx="533993" cy="291310"/>
          </a:xfrm>
        </p:grpSpPr>
        <p:grpSp>
          <p:nvGrpSpPr>
            <p:cNvPr id="133" name="组合 132"/>
            <p:cNvGrpSpPr/>
            <p:nvPr/>
          </p:nvGrpSpPr>
          <p:grpSpPr>
            <a:xfrm>
              <a:off x="6117110" y="2464948"/>
              <a:ext cx="533993" cy="234754"/>
              <a:chOff x="6006961" y="2354687"/>
              <a:chExt cx="533993" cy="23475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35" name="组合 134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37" name="六边形 136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11A7FC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38" name="等腰三角形 137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11A7F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36" name="文本框 135"/>
              <p:cNvSpPr txBox="1"/>
              <p:nvPr/>
            </p:nvSpPr>
            <p:spPr>
              <a:xfrm>
                <a:off x="6037362" y="2354687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34" name="椭圆 133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11A7FC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9" name="组合 138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0" name="组合 139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47" name="矩形 146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8" name="文本框 147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49" name="文本框 148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0" name="直接连接符 149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1" name="椭圆 150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文本框 151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1" name="组合 140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5" name="六边形 144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6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42" name="组合 141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3" name="六边形 142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4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443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2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9" name="矩形 138"/>
          <p:cNvSpPr/>
          <p:nvPr/>
        </p:nvSpPr>
        <p:spPr>
          <a:xfrm>
            <a:off x="1170835" y="2162742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0" name="矩形 139"/>
          <p:cNvSpPr/>
          <p:nvPr/>
        </p:nvSpPr>
        <p:spPr>
          <a:xfrm>
            <a:off x="2875894" y="2175977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1" name="矩形 140"/>
          <p:cNvSpPr/>
          <p:nvPr/>
        </p:nvSpPr>
        <p:spPr>
          <a:xfrm>
            <a:off x="2875894" y="3848829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2" name="矩形 141"/>
          <p:cNvSpPr/>
          <p:nvPr/>
        </p:nvSpPr>
        <p:spPr>
          <a:xfrm>
            <a:off x="1170835" y="3857176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4569038" y="2162742"/>
            <a:ext cx="1860140" cy="648931"/>
            <a:chOff x="4569038" y="2186188"/>
            <a:chExt cx="1860140" cy="648931"/>
          </a:xfrm>
        </p:grpSpPr>
        <p:sp>
          <p:nvSpPr>
            <p:cNvPr id="143" name="流程图: 手动输入 142"/>
            <p:cNvSpPr/>
            <p:nvPr/>
          </p:nvSpPr>
          <p:spPr>
            <a:xfrm rot="5400000" flipH="1">
              <a:off x="5730166" y="2136107"/>
              <a:ext cx="647041" cy="750982"/>
            </a:xfrm>
            <a:prstGeom prst="flowChartManualInput">
              <a:avLst/>
            </a:prstGeom>
            <a:solidFill>
              <a:srgbClr val="EE355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4" name="矩形 143"/>
            <p:cNvSpPr/>
            <p:nvPr/>
          </p:nvSpPr>
          <p:spPr>
            <a:xfrm>
              <a:off x="4569038" y="2186188"/>
              <a:ext cx="1109157" cy="648931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5" name="平行四边形 144"/>
          <p:cNvSpPr/>
          <p:nvPr/>
        </p:nvSpPr>
        <p:spPr>
          <a:xfrm>
            <a:off x="6429177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6" name="平行四边形 145"/>
          <p:cNvSpPr/>
          <p:nvPr/>
        </p:nvSpPr>
        <p:spPr>
          <a:xfrm>
            <a:off x="6939544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7" name="平行四边形 146"/>
          <p:cNvSpPr/>
          <p:nvPr/>
        </p:nvSpPr>
        <p:spPr>
          <a:xfrm>
            <a:off x="7449911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8" name="平行四边形 147"/>
          <p:cNvSpPr/>
          <p:nvPr/>
        </p:nvSpPr>
        <p:spPr>
          <a:xfrm>
            <a:off x="7960275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9" name="平行四边形 148"/>
          <p:cNvSpPr/>
          <p:nvPr/>
        </p:nvSpPr>
        <p:spPr>
          <a:xfrm>
            <a:off x="8981009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0" name="平行四边形 149"/>
          <p:cNvSpPr/>
          <p:nvPr/>
        </p:nvSpPr>
        <p:spPr>
          <a:xfrm>
            <a:off x="9491375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1" name="平行四边形 150"/>
          <p:cNvSpPr/>
          <p:nvPr/>
        </p:nvSpPr>
        <p:spPr>
          <a:xfrm>
            <a:off x="8470642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2" name="平行四边形 151"/>
          <p:cNvSpPr/>
          <p:nvPr/>
        </p:nvSpPr>
        <p:spPr>
          <a:xfrm>
            <a:off x="10001742" y="2175977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3" name="平行四边形 152"/>
          <p:cNvSpPr/>
          <p:nvPr/>
        </p:nvSpPr>
        <p:spPr>
          <a:xfrm>
            <a:off x="10512102" y="2175977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4" name="流程图: 手动输入 153"/>
          <p:cNvSpPr/>
          <p:nvPr/>
        </p:nvSpPr>
        <p:spPr>
          <a:xfrm rot="5400000" flipH="1">
            <a:off x="5730166" y="2918155"/>
            <a:ext cx="647041" cy="750982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5" name="矩形 154"/>
          <p:cNvSpPr/>
          <p:nvPr/>
        </p:nvSpPr>
        <p:spPr>
          <a:xfrm>
            <a:off x="4569038" y="2968236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6" name="平行四边形 155"/>
          <p:cNvSpPr/>
          <p:nvPr/>
        </p:nvSpPr>
        <p:spPr>
          <a:xfrm>
            <a:off x="6429177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7" name="平行四边形 156"/>
          <p:cNvSpPr/>
          <p:nvPr/>
        </p:nvSpPr>
        <p:spPr>
          <a:xfrm>
            <a:off x="6939544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8" name="平行四边形 157"/>
          <p:cNvSpPr/>
          <p:nvPr/>
        </p:nvSpPr>
        <p:spPr>
          <a:xfrm>
            <a:off x="7449911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9" name="平行四边形 158"/>
          <p:cNvSpPr/>
          <p:nvPr/>
        </p:nvSpPr>
        <p:spPr>
          <a:xfrm>
            <a:off x="7960275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0" name="平行四边形 159"/>
          <p:cNvSpPr/>
          <p:nvPr/>
        </p:nvSpPr>
        <p:spPr>
          <a:xfrm>
            <a:off x="8981009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1" name="平行四边形 160"/>
          <p:cNvSpPr/>
          <p:nvPr/>
        </p:nvSpPr>
        <p:spPr>
          <a:xfrm>
            <a:off x="9491375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2" name="平行四边形 161"/>
          <p:cNvSpPr/>
          <p:nvPr/>
        </p:nvSpPr>
        <p:spPr>
          <a:xfrm>
            <a:off x="847064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3" name="平行四边形 162"/>
          <p:cNvSpPr/>
          <p:nvPr/>
        </p:nvSpPr>
        <p:spPr>
          <a:xfrm>
            <a:off x="1000174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4" name="平行四边形 163"/>
          <p:cNvSpPr/>
          <p:nvPr/>
        </p:nvSpPr>
        <p:spPr>
          <a:xfrm>
            <a:off x="1051210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5" name="流程图: 手动输入 164"/>
          <p:cNvSpPr/>
          <p:nvPr/>
        </p:nvSpPr>
        <p:spPr>
          <a:xfrm rot="5400000" flipH="1">
            <a:off x="5729221" y="3730832"/>
            <a:ext cx="648931" cy="750982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6" name="矩形 165"/>
          <p:cNvSpPr/>
          <p:nvPr/>
        </p:nvSpPr>
        <p:spPr>
          <a:xfrm>
            <a:off x="4569038" y="3781858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7" name="平行四边形 166"/>
          <p:cNvSpPr/>
          <p:nvPr/>
        </p:nvSpPr>
        <p:spPr>
          <a:xfrm>
            <a:off x="6429177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8" name="平行四边形 167"/>
          <p:cNvSpPr/>
          <p:nvPr/>
        </p:nvSpPr>
        <p:spPr>
          <a:xfrm>
            <a:off x="6939544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9" name="平行四边形 168"/>
          <p:cNvSpPr/>
          <p:nvPr/>
        </p:nvSpPr>
        <p:spPr>
          <a:xfrm>
            <a:off x="7449911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0" name="平行四边形 169"/>
          <p:cNvSpPr/>
          <p:nvPr/>
        </p:nvSpPr>
        <p:spPr>
          <a:xfrm>
            <a:off x="7960275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1" name="平行四边形 170"/>
          <p:cNvSpPr/>
          <p:nvPr/>
        </p:nvSpPr>
        <p:spPr>
          <a:xfrm>
            <a:off x="8981009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2" name="平行四边形 171"/>
          <p:cNvSpPr/>
          <p:nvPr/>
        </p:nvSpPr>
        <p:spPr>
          <a:xfrm>
            <a:off x="9491375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3" name="平行四边形 172"/>
          <p:cNvSpPr/>
          <p:nvPr/>
        </p:nvSpPr>
        <p:spPr>
          <a:xfrm>
            <a:off x="8470642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74" name="平行四边形 173"/>
          <p:cNvSpPr/>
          <p:nvPr/>
        </p:nvSpPr>
        <p:spPr>
          <a:xfrm>
            <a:off x="10001742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5" name="平行四边形 174"/>
          <p:cNvSpPr/>
          <p:nvPr/>
        </p:nvSpPr>
        <p:spPr>
          <a:xfrm>
            <a:off x="10512102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6" name="流程图: 手动输入 175"/>
          <p:cNvSpPr/>
          <p:nvPr/>
        </p:nvSpPr>
        <p:spPr>
          <a:xfrm rot="5400000" flipH="1">
            <a:off x="5729221" y="4528197"/>
            <a:ext cx="648931" cy="750983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7" name="矩形 176"/>
          <p:cNvSpPr/>
          <p:nvPr/>
        </p:nvSpPr>
        <p:spPr>
          <a:xfrm>
            <a:off x="4569038" y="4579224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8" name="平行四边形 177"/>
          <p:cNvSpPr/>
          <p:nvPr/>
        </p:nvSpPr>
        <p:spPr>
          <a:xfrm>
            <a:off x="6429177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9" name="平行四边形 178"/>
          <p:cNvSpPr/>
          <p:nvPr/>
        </p:nvSpPr>
        <p:spPr>
          <a:xfrm>
            <a:off x="6939544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0" name="平行四边形 179"/>
          <p:cNvSpPr/>
          <p:nvPr/>
        </p:nvSpPr>
        <p:spPr>
          <a:xfrm>
            <a:off x="7449911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1" name="平行四边形 180"/>
          <p:cNvSpPr/>
          <p:nvPr/>
        </p:nvSpPr>
        <p:spPr>
          <a:xfrm>
            <a:off x="7960275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2" name="平行四边形 181"/>
          <p:cNvSpPr/>
          <p:nvPr/>
        </p:nvSpPr>
        <p:spPr>
          <a:xfrm>
            <a:off x="8981009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3" name="平行四边形 182"/>
          <p:cNvSpPr/>
          <p:nvPr/>
        </p:nvSpPr>
        <p:spPr>
          <a:xfrm>
            <a:off x="9491375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4" name="平行四边形 183"/>
          <p:cNvSpPr/>
          <p:nvPr/>
        </p:nvSpPr>
        <p:spPr>
          <a:xfrm>
            <a:off x="8470642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5" name="平行四边形 184"/>
          <p:cNvSpPr/>
          <p:nvPr/>
        </p:nvSpPr>
        <p:spPr>
          <a:xfrm>
            <a:off x="10001742" y="4592459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6" name="平行四边形 185"/>
          <p:cNvSpPr/>
          <p:nvPr/>
        </p:nvSpPr>
        <p:spPr>
          <a:xfrm>
            <a:off x="10512102" y="4592459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5" name="Freeform 45"/>
          <p:cNvSpPr>
            <a:spLocks noEditPoints="1"/>
          </p:cNvSpPr>
          <p:nvPr/>
        </p:nvSpPr>
        <p:spPr bwMode="black">
          <a:xfrm>
            <a:off x="1444229" y="2356813"/>
            <a:ext cx="770908" cy="831430"/>
          </a:xfrm>
          <a:custGeom>
            <a:avLst/>
            <a:gdLst>
              <a:gd name="T0" fmla="*/ 135 w 140"/>
              <a:gd name="T1" fmla="*/ 85 h 151"/>
              <a:gd name="T2" fmla="*/ 140 w 140"/>
              <a:gd name="T3" fmla="*/ 96 h 151"/>
              <a:gd name="T4" fmla="*/ 134 w 140"/>
              <a:gd name="T5" fmla="*/ 106 h 151"/>
              <a:gd name="T6" fmla="*/ 137 w 140"/>
              <a:gd name="T7" fmla="*/ 117 h 151"/>
              <a:gd name="T8" fmla="*/ 129 w 140"/>
              <a:gd name="T9" fmla="*/ 128 h 151"/>
              <a:gd name="T10" fmla="*/ 128 w 140"/>
              <a:gd name="T11" fmla="*/ 137 h 151"/>
              <a:gd name="T12" fmla="*/ 116 w 140"/>
              <a:gd name="T13" fmla="*/ 148 h 151"/>
              <a:gd name="T14" fmla="*/ 65 w 140"/>
              <a:gd name="T15" fmla="*/ 148 h 151"/>
              <a:gd name="T16" fmla="*/ 33 w 140"/>
              <a:gd name="T17" fmla="*/ 142 h 151"/>
              <a:gd name="T18" fmla="*/ 33 w 140"/>
              <a:gd name="T19" fmla="*/ 82 h 151"/>
              <a:gd name="T20" fmla="*/ 34 w 140"/>
              <a:gd name="T21" fmla="*/ 82 h 151"/>
              <a:gd name="T22" fmla="*/ 34 w 140"/>
              <a:gd name="T23" fmla="*/ 82 h 151"/>
              <a:gd name="T24" fmla="*/ 37 w 140"/>
              <a:gd name="T25" fmla="*/ 82 h 151"/>
              <a:gd name="T26" fmla="*/ 60 w 140"/>
              <a:gd name="T27" fmla="*/ 48 h 151"/>
              <a:gd name="T28" fmla="*/ 68 w 140"/>
              <a:gd name="T29" fmla="*/ 39 h 151"/>
              <a:gd name="T30" fmla="*/ 81 w 140"/>
              <a:gd name="T31" fmla="*/ 3 h 151"/>
              <a:gd name="T32" fmla="*/ 97 w 140"/>
              <a:gd name="T33" fmla="*/ 8 h 151"/>
              <a:gd name="T34" fmla="*/ 99 w 140"/>
              <a:gd name="T35" fmla="*/ 35 h 151"/>
              <a:gd name="T36" fmla="*/ 90 w 140"/>
              <a:gd name="T37" fmla="*/ 60 h 151"/>
              <a:gd name="T38" fmla="*/ 130 w 140"/>
              <a:gd name="T39" fmla="*/ 62 h 151"/>
              <a:gd name="T40" fmla="*/ 140 w 140"/>
              <a:gd name="T41" fmla="*/ 77 h 151"/>
              <a:gd name="T42" fmla="*/ 135 w 140"/>
              <a:gd name="T43" fmla="*/ 85 h 151"/>
              <a:gd name="T44" fmla="*/ 30 w 140"/>
              <a:gd name="T45" fmla="*/ 137 h 151"/>
              <a:gd name="T46" fmla="*/ 30 w 140"/>
              <a:gd name="T47" fmla="*/ 137 h 151"/>
              <a:gd name="T48" fmla="*/ 30 w 140"/>
              <a:gd name="T49" fmla="*/ 82 h 151"/>
              <a:gd name="T50" fmla="*/ 23 w 140"/>
              <a:gd name="T51" fmla="*/ 76 h 151"/>
              <a:gd name="T52" fmla="*/ 7 w 140"/>
              <a:gd name="T53" fmla="*/ 76 h 151"/>
              <a:gd name="T54" fmla="*/ 0 w 140"/>
              <a:gd name="T55" fmla="*/ 82 h 151"/>
              <a:gd name="T56" fmla="*/ 0 w 140"/>
              <a:gd name="T57" fmla="*/ 137 h 151"/>
              <a:gd name="T58" fmla="*/ 7 w 140"/>
              <a:gd name="T59" fmla="*/ 144 h 151"/>
              <a:gd name="T60" fmla="*/ 23 w 140"/>
              <a:gd name="T61" fmla="*/ 144 h 151"/>
              <a:gd name="T62" fmla="*/ 30 w 140"/>
              <a:gd name="T63" fmla="*/ 137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0" h="151">
                <a:moveTo>
                  <a:pt x="135" y="85"/>
                </a:moveTo>
                <a:cubicBezTo>
                  <a:pt x="135" y="88"/>
                  <a:pt x="140" y="93"/>
                  <a:pt x="140" y="96"/>
                </a:cubicBezTo>
                <a:cubicBezTo>
                  <a:pt x="140" y="99"/>
                  <a:pt x="134" y="103"/>
                  <a:pt x="134" y="106"/>
                </a:cubicBezTo>
                <a:cubicBezTo>
                  <a:pt x="133" y="109"/>
                  <a:pt x="137" y="114"/>
                  <a:pt x="137" y="117"/>
                </a:cubicBezTo>
                <a:cubicBezTo>
                  <a:pt x="137" y="121"/>
                  <a:pt x="130" y="125"/>
                  <a:pt x="129" y="128"/>
                </a:cubicBezTo>
                <a:cubicBezTo>
                  <a:pt x="128" y="130"/>
                  <a:pt x="129" y="135"/>
                  <a:pt x="128" y="137"/>
                </a:cubicBezTo>
                <a:cubicBezTo>
                  <a:pt x="127" y="141"/>
                  <a:pt x="120" y="147"/>
                  <a:pt x="116" y="148"/>
                </a:cubicBezTo>
                <a:cubicBezTo>
                  <a:pt x="104" y="151"/>
                  <a:pt x="65" y="148"/>
                  <a:pt x="65" y="148"/>
                </a:cubicBezTo>
                <a:cubicBezTo>
                  <a:pt x="65" y="148"/>
                  <a:pt x="65" y="148"/>
                  <a:pt x="33" y="142"/>
                </a:cubicBezTo>
                <a:cubicBezTo>
                  <a:pt x="33" y="142"/>
                  <a:pt x="33" y="142"/>
                  <a:pt x="33" y="82"/>
                </a:cubicBezTo>
                <a:cubicBezTo>
                  <a:pt x="33" y="82"/>
                  <a:pt x="33" y="82"/>
                  <a:pt x="34" y="82"/>
                </a:cubicBezTo>
                <a:cubicBezTo>
                  <a:pt x="34" y="82"/>
                  <a:pt x="34" y="82"/>
                  <a:pt x="34" y="82"/>
                </a:cubicBezTo>
                <a:cubicBezTo>
                  <a:pt x="34" y="82"/>
                  <a:pt x="34" y="82"/>
                  <a:pt x="37" y="82"/>
                </a:cubicBezTo>
                <a:cubicBezTo>
                  <a:pt x="41" y="81"/>
                  <a:pt x="49" y="75"/>
                  <a:pt x="60" y="48"/>
                </a:cubicBezTo>
                <a:cubicBezTo>
                  <a:pt x="61" y="44"/>
                  <a:pt x="65" y="42"/>
                  <a:pt x="68" y="39"/>
                </a:cubicBezTo>
                <a:cubicBezTo>
                  <a:pt x="75" y="34"/>
                  <a:pt x="79" y="27"/>
                  <a:pt x="81" y="3"/>
                </a:cubicBezTo>
                <a:cubicBezTo>
                  <a:pt x="81" y="0"/>
                  <a:pt x="91" y="1"/>
                  <a:pt x="97" y="8"/>
                </a:cubicBezTo>
                <a:cubicBezTo>
                  <a:pt x="102" y="14"/>
                  <a:pt x="102" y="26"/>
                  <a:pt x="99" y="35"/>
                </a:cubicBezTo>
                <a:cubicBezTo>
                  <a:pt x="96" y="41"/>
                  <a:pt x="87" y="55"/>
                  <a:pt x="90" y="60"/>
                </a:cubicBezTo>
                <a:cubicBezTo>
                  <a:pt x="90" y="60"/>
                  <a:pt x="124" y="59"/>
                  <a:pt x="130" y="62"/>
                </a:cubicBezTo>
                <a:cubicBezTo>
                  <a:pt x="134" y="63"/>
                  <a:pt x="140" y="72"/>
                  <a:pt x="140" y="77"/>
                </a:cubicBezTo>
                <a:cubicBezTo>
                  <a:pt x="140" y="79"/>
                  <a:pt x="136" y="83"/>
                  <a:pt x="135" y="85"/>
                </a:cubicBezTo>
                <a:close/>
                <a:moveTo>
                  <a:pt x="30" y="137"/>
                </a:moveTo>
                <a:cubicBezTo>
                  <a:pt x="30" y="137"/>
                  <a:pt x="30" y="137"/>
                  <a:pt x="30" y="137"/>
                </a:cubicBezTo>
                <a:cubicBezTo>
                  <a:pt x="30" y="137"/>
                  <a:pt x="30" y="137"/>
                  <a:pt x="30" y="82"/>
                </a:cubicBezTo>
                <a:cubicBezTo>
                  <a:pt x="30" y="79"/>
                  <a:pt x="27" y="76"/>
                  <a:pt x="23" y="76"/>
                </a:cubicBezTo>
                <a:cubicBezTo>
                  <a:pt x="23" y="76"/>
                  <a:pt x="23" y="76"/>
                  <a:pt x="7" y="76"/>
                </a:cubicBezTo>
                <a:cubicBezTo>
                  <a:pt x="3" y="76"/>
                  <a:pt x="0" y="79"/>
                  <a:pt x="0" y="82"/>
                </a:cubicBezTo>
                <a:cubicBezTo>
                  <a:pt x="0" y="82"/>
                  <a:pt x="0" y="82"/>
                  <a:pt x="0" y="137"/>
                </a:cubicBezTo>
                <a:cubicBezTo>
                  <a:pt x="0" y="141"/>
                  <a:pt x="3" y="144"/>
                  <a:pt x="7" y="144"/>
                </a:cubicBezTo>
                <a:cubicBezTo>
                  <a:pt x="7" y="144"/>
                  <a:pt x="7" y="144"/>
                  <a:pt x="23" y="144"/>
                </a:cubicBezTo>
                <a:cubicBezTo>
                  <a:pt x="27" y="144"/>
                  <a:pt x="30" y="141"/>
                  <a:pt x="30" y="137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68568" tIns="34285" rIns="68568" bIns="34285" numCol="1" anchor="t" anchorCtr="0" compatLnSpc="1"/>
          <a:lstStyle/>
          <a:p>
            <a:pPr defTabSz="685800"/>
            <a:endParaRPr lang="en-US">
              <a:solidFill>
                <a:srgbClr val="FFFFFF"/>
              </a:solidFill>
            </a:endParaRPr>
          </a:p>
        </p:txBody>
      </p:sp>
      <p:sp>
        <p:nvSpPr>
          <p:cNvPr id="196" name="Freeform 35"/>
          <p:cNvSpPr/>
          <p:nvPr/>
        </p:nvSpPr>
        <p:spPr bwMode="black">
          <a:xfrm>
            <a:off x="3087040" y="2356813"/>
            <a:ext cx="869946" cy="894499"/>
          </a:xfrm>
          <a:custGeom>
            <a:avLst/>
            <a:gdLst>
              <a:gd name="T0" fmla="*/ 120 w 191"/>
              <a:gd name="T1" fmla="*/ 32 h 197"/>
              <a:gd name="T2" fmla="*/ 83 w 191"/>
              <a:gd name="T3" fmla="*/ 3 h 197"/>
              <a:gd name="T4" fmla="*/ 47 w 191"/>
              <a:gd name="T5" fmla="*/ 5 h 197"/>
              <a:gd name="T6" fmla="*/ 44 w 191"/>
              <a:gd name="T7" fmla="*/ 27 h 197"/>
              <a:gd name="T8" fmla="*/ 40 w 191"/>
              <a:gd name="T9" fmla="*/ 29 h 197"/>
              <a:gd name="T10" fmla="*/ 40 w 191"/>
              <a:gd name="T11" fmla="*/ 33 h 197"/>
              <a:gd name="T12" fmla="*/ 45 w 191"/>
              <a:gd name="T13" fmla="*/ 40 h 197"/>
              <a:gd name="T14" fmla="*/ 88 w 191"/>
              <a:gd name="T15" fmla="*/ 44 h 197"/>
              <a:gd name="T16" fmla="*/ 118 w 191"/>
              <a:gd name="T17" fmla="*/ 113 h 197"/>
              <a:gd name="T18" fmla="*/ 144 w 191"/>
              <a:gd name="T19" fmla="*/ 129 h 197"/>
              <a:gd name="T20" fmla="*/ 112 w 191"/>
              <a:gd name="T21" fmla="*/ 109 h 197"/>
              <a:gd name="T22" fmla="*/ 65 w 191"/>
              <a:gd name="T23" fmla="*/ 115 h 197"/>
              <a:gd name="T24" fmla="*/ 0 w 191"/>
              <a:gd name="T25" fmla="*/ 116 h 197"/>
              <a:gd name="T26" fmla="*/ 26 w 191"/>
              <a:gd name="T27" fmla="*/ 174 h 197"/>
              <a:gd name="T28" fmla="*/ 61 w 191"/>
              <a:gd name="T29" fmla="*/ 136 h 197"/>
              <a:gd name="T30" fmla="*/ 57 w 191"/>
              <a:gd name="T31" fmla="*/ 148 h 197"/>
              <a:gd name="T32" fmla="*/ 126 w 191"/>
              <a:gd name="T33" fmla="*/ 140 h 197"/>
              <a:gd name="T34" fmla="*/ 55 w 191"/>
              <a:gd name="T35" fmla="*/ 153 h 197"/>
              <a:gd name="T36" fmla="*/ 30 w 191"/>
              <a:gd name="T37" fmla="*/ 180 h 197"/>
              <a:gd name="T38" fmla="*/ 32 w 191"/>
              <a:gd name="T39" fmla="*/ 182 h 197"/>
              <a:gd name="T40" fmla="*/ 180 w 191"/>
              <a:gd name="T41" fmla="*/ 159 h 197"/>
              <a:gd name="T42" fmla="*/ 185 w 191"/>
              <a:gd name="T43" fmla="*/ 129 h 197"/>
              <a:gd name="T44" fmla="*/ 120 w 191"/>
              <a:gd name="T45" fmla="*/ 32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91" h="197">
                <a:moveTo>
                  <a:pt x="120" y="32"/>
                </a:moveTo>
                <a:cubicBezTo>
                  <a:pt x="112" y="23"/>
                  <a:pt x="99" y="9"/>
                  <a:pt x="83" y="3"/>
                </a:cubicBezTo>
                <a:cubicBezTo>
                  <a:pt x="72" y="0"/>
                  <a:pt x="47" y="5"/>
                  <a:pt x="47" y="5"/>
                </a:cubicBezTo>
                <a:cubicBezTo>
                  <a:pt x="44" y="27"/>
                  <a:pt x="44" y="27"/>
                  <a:pt x="44" y="27"/>
                </a:cubicBezTo>
                <a:cubicBezTo>
                  <a:pt x="40" y="29"/>
                  <a:pt x="40" y="29"/>
                  <a:pt x="40" y="29"/>
                </a:cubicBezTo>
                <a:cubicBezTo>
                  <a:pt x="40" y="33"/>
                  <a:pt x="40" y="33"/>
                  <a:pt x="40" y="33"/>
                </a:cubicBezTo>
                <a:cubicBezTo>
                  <a:pt x="40" y="33"/>
                  <a:pt x="40" y="37"/>
                  <a:pt x="45" y="40"/>
                </a:cubicBezTo>
                <a:cubicBezTo>
                  <a:pt x="50" y="42"/>
                  <a:pt x="73" y="53"/>
                  <a:pt x="88" y="44"/>
                </a:cubicBezTo>
                <a:cubicBezTo>
                  <a:pt x="118" y="60"/>
                  <a:pt x="105" y="91"/>
                  <a:pt x="118" y="113"/>
                </a:cubicBezTo>
                <a:cubicBezTo>
                  <a:pt x="123" y="120"/>
                  <a:pt x="131" y="127"/>
                  <a:pt x="144" y="129"/>
                </a:cubicBezTo>
                <a:cubicBezTo>
                  <a:pt x="144" y="129"/>
                  <a:pt x="115" y="131"/>
                  <a:pt x="112" y="109"/>
                </a:cubicBezTo>
                <a:cubicBezTo>
                  <a:pt x="101" y="104"/>
                  <a:pt x="82" y="99"/>
                  <a:pt x="65" y="115"/>
                </a:cubicBezTo>
                <a:cubicBezTo>
                  <a:pt x="51" y="100"/>
                  <a:pt x="14" y="100"/>
                  <a:pt x="0" y="116"/>
                </a:cubicBezTo>
                <a:cubicBezTo>
                  <a:pt x="6" y="141"/>
                  <a:pt x="18" y="163"/>
                  <a:pt x="26" y="174"/>
                </a:cubicBezTo>
                <a:cubicBezTo>
                  <a:pt x="52" y="156"/>
                  <a:pt x="61" y="136"/>
                  <a:pt x="61" y="136"/>
                </a:cubicBezTo>
                <a:cubicBezTo>
                  <a:pt x="60" y="140"/>
                  <a:pt x="59" y="144"/>
                  <a:pt x="57" y="148"/>
                </a:cubicBezTo>
                <a:cubicBezTo>
                  <a:pt x="103" y="167"/>
                  <a:pt x="126" y="140"/>
                  <a:pt x="126" y="140"/>
                </a:cubicBezTo>
                <a:cubicBezTo>
                  <a:pt x="107" y="171"/>
                  <a:pt x="63" y="157"/>
                  <a:pt x="55" y="153"/>
                </a:cubicBezTo>
                <a:cubicBezTo>
                  <a:pt x="48" y="166"/>
                  <a:pt x="38" y="175"/>
                  <a:pt x="30" y="180"/>
                </a:cubicBezTo>
                <a:cubicBezTo>
                  <a:pt x="32" y="181"/>
                  <a:pt x="32" y="182"/>
                  <a:pt x="32" y="182"/>
                </a:cubicBezTo>
                <a:cubicBezTo>
                  <a:pt x="88" y="197"/>
                  <a:pt x="154" y="177"/>
                  <a:pt x="180" y="159"/>
                </a:cubicBezTo>
                <a:cubicBezTo>
                  <a:pt x="191" y="151"/>
                  <a:pt x="188" y="138"/>
                  <a:pt x="185" y="129"/>
                </a:cubicBezTo>
                <a:cubicBezTo>
                  <a:pt x="172" y="91"/>
                  <a:pt x="134" y="49"/>
                  <a:pt x="120" y="32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61717" tIns="30858" rIns="61717" bIns="30858" numCol="1" anchor="t" anchorCtr="0" compatLnSpc="1"/>
          <a:lstStyle/>
          <a:p>
            <a:pPr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7" name="Rounded Rectangle 29"/>
          <p:cNvSpPr/>
          <p:nvPr/>
        </p:nvSpPr>
        <p:spPr bwMode="black">
          <a:xfrm>
            <a:off x="1646021" y="4059187"/>
            <a:ext cx="446561" cy="909371"/>
          </a:xfrm>
          <a:custGeom>
            <a:avLst/>
            <a:gdLst/>
            <a:ahLst/>
            <a:cxnLst/>
            <a:rect l="l" t="t" r="r" b="b"/>
            <a:pathLst>
              <a:path w="2136009" h="4350877">
                <a:moveTo>
                  <a:pt x="111238" y="2095565"/>
                </a:moveTo>
                <a:cubicBezTo>
                  <a:pt x="168383" y="2095565"/>
                  <a:pt x="215464" y="2138656"/>
                  <a:pt x="221204" y="2194180"/>
                </a:cubicBezTo>
                <a:lnTo>
                  <a:pt x="222888" y="2194180"/>
                </a:lnTo>
                <a:cubicBezTo>
                  <a:pt x="222888" y="2661471"/>
                  <a:pt x="601700" y="3040283"/>
                  <a:pt x="1068991" y="3040283"/>
                </a:cubicBezTo>
                <a:cubicBezTo>
                  <a:pt x="1530017" y="3040283"/>
                  <a:pt x="1904922" y="2671559"/>
                  <a:pt x="1914148" y="2212909"/>
                </a:cubicBezTo>
                <a:cubicBezTo>
                  <a:pt x="1913589" y="2210904"/>
                  <a:pt x="1913533" y="2208860"/>
                  <a:pt x="1913533" y="2206803"/>
                </a:cubicBezTo>
                <a:cubicBezTo>
                  <a:pt x="1913533" y="2145368"/>
                  <a:pt x="1963336" y="2095565"/>
                  <a:pt x="2024771" y="2095565"/>
                </a:cubicBezTo>
                <a:cubicBezTo>
                  <a:pt x="2081917" y="2095565"/>
                  <a:pt x="2128997" y="2138656"/>
                  <a:pt x="2134737" y="2194180"/>
                </a:cubicBezTo>
                <a:lnTo>
                  <a:pt x="2136009" y="2194180"/>
                </a:lnTo>
                <a:lnTo>
                  <a:pt x="2135585" y="2202590"/>
                </a:lnTo>
                <a:cubicBezTo>
                  <a:pt x="2135983" y="2203980"/>
                  <a:pt x="2136009" y="2205388"/>
                  <a:pt x="2136009" y="2206803"/>
                </a:cubicBezTo>
                <a:lnTo>
                  <a:pt x="2134732" y="2219472"/>
                </a:lnTo>
                <a:cubicBezTo>
                  <a:pt x="2123259" y="2751175"/>
                  <a:pt x="1722042" y="3186685"/>
                  <a:pt x="1205164" y="3251541"/>
                </a:cubicBezTo>
                <a:lnTo>
                  <a:pt x="1205164" y="3820541"/>
                </a:lnTo>
                <a:lnTo>
                  <a:pt x="1457555" y="3820541"/>
                </a:lnTo>
                <a:cubicBezTo>
                  <a:pt x="1604003" y="3820541"/>
                  <a:pt x="1722723" y="3939261"/>
                  <a:pt x="1722723" y="4085709"/>
                </a:cubicBezTo>
                <a:lnTo>
                  <a:pt x="1722722" y="4085709"/>
                </a:lnTo>
                <a:cubicBezTo>
                  <a:pt x="1722722" y="4232157"/>
                  <a:pt x="1604002" y="4350877"/>
                  <a:pt x="1457554" y="4350877"/>
                </a:cubicBezTo>
                <a:lnTo>
                  <a:pt x="678455" y="4350876"/>
                </a:lnTo>
                <a:cubicBezTo>
                  <a:pt x="532007" y="4350876"/>
                  <a:pt x="413288" y="4232157"/>
                  <a:pt x="413287" y="4085709"/>
                </a:cubicBezTo>
                <a:cubicBezTo>
                  <a:pt x="413288" y="3939261"/>
                  <a:pt x="532007" y="3820541"/>
                  <a:pt x="678455" y="3820541"/>
                </a:cubicBezTo>
                <a:lnTo>
                  <a:pt x="930844" y="3820541"/>
                </a:lnTo>
                <a:lnTo>
                  <a:pt x="930844" y="3251239"/>
                </a:lnTo>
                <a:cubicBezTo>
                  <a:pt x="419935" y="3186221"/>
                  <a:pt x="22536" y="2758927"/>
                  <a:pt x="4029" y="2234922"/>
                </a:cubicBezTo>
                <a:cubicBezTo>
                  <a:pt x="1255" y="2226017"/>
                  <a:pt x="0" y="2216556"/>
                  <a:pt x="0" y="2206803"/>
                </a:cubicBezTo>
                <a:cubicBezTo>
                  <a:pt x="0" y="2145368"/>
                  <a:pt x="49803" y="2095565"/>
                  <a:pt x="111238" y="2095565"/>
                </a:cubicBezTo>
                <a:close/>
                <a:moveTo>
                  <a:pt x="1050366" y="0"/>
                </a:moveTo>
                <a:lnTo>
                  <a:pt x="1085642" y="0"/>
                </a:lnTo>
                <a:cubicBezTo>
                  <a:pt x="1458724" y="0"/>
                  <a:pt x="1761980" y="298955"/>
                  <a:pt x="1767734" y="670400"/>
                </a:cubicBezTo>
                <a:lnTo>
                  <a:pt x="1582354" y="670400"/>
                </a:lnTo>
                <a:cubicBezTo>
                  <a:pt x="1489769" y="670400"/>
                  <a:pt x="1414714" y="745455"/>
                  <a:pt x="1414714" y="838040"/>
                </a:cubicBezTo>
                <a:cubicBezTo>
                  <a:pt x="1414714" y="930625"/>
                  <a:pt x="1489769" y="1005680"/>
                  <a:pt x="1582354" y="1005680"/>
                </a:cubicBezTo>
                <a:lnTo>
                  <a:pt x="1769044" y="1005680"/>
                </a:lnTo>
                <a:lnTo>
                  <a:pt x="1769044" y="1319453"/>
                </a:lnTo>
                <a:lnTo>
                  <a:pt x="1582354" y="1319453"/>
                </a:lnTo>
                <a:cubicBezTo>
                  <a:pt x="1489769" y="1319453"/>
                  <a:pt x="1414714" y="1394508"/>
                  <a:pt x="1414714" y="1487093"/>
                </a:cubicBezTo>
                <a:cubicBezTo>
                  <a:pt x="1414714" y="1579678"/>
                  <a:pt x="1489769" y="1654733"/>
                  <a:pt x="1582354" y="1654733"/>
                </a:cubicBezTo>
                <a:lnTo>
                  <a:pt x="1769044" y="1654733"/>
                </a:lnTo>
                <a:lnTo>
                  <a:pt x="1769044" y="1968506"/>
                </a:lnTo>
                <a:lnTo>
                  <a:pt x="1582354" y="1968506"/>
                </a:lnTo>
                <a:cubicBezTo>
                  <a:pt x="1489769" y="1968506"/>
                  <a:pt x="1414714" y="2043561"/>
                  <a:pt x="1414714" y="2136146"/>
                </a:cubicBezTo>
                <a:cubicBezTo>
                  <a:pt x="1414714" y="2228731"/>
                  <a:pt x="1489769" y="2303786"/>
                  <a:pt x="1582354" y="2303786"/>
                </a:cubicBezTo>
                <a:lnTo>
                  <a:pt x="1758275" y="2303786"/>
                </a:lnTo>
                <a:cubicBezTo>
                  <a:pt x="1709241" y="2630669"/>
                  <a:pt x="1426601" y="2880360"/>
                  <a:pt x="1085642" y="2880360"/>
                </a:cubicBezTo>
                <a:lnTo>
                  <a:pt x="1050366" y="2880360"/>
                </a:lnTo>
                <a:cubicBezTo>
                  <a:pt x="709407" y="2880360"/>
                  <a:pt x="426767" y="2630669"/>
                  <a:pt x="377733" y="2303786"/>
                </a:cubicBezTo>
                <a:lnTo>
                  <a:pt x="549845" y="2303786"/>
                </a:lnTo>
                <a:cubicBezTo>
                  <a:pt x="642430" y="2303786"/>
                  <a:pt x="717485" y="2228731"/>
                  <a:pt x="717485" y="2136146"/>
                </a:cubicBezTo>
                <a:cubicBezTo>
                  <a:pt x="717485" y="2043561"/>
                  <a:pt x="642430" y="1968506"/>
                  <a:pt x="549845" y="1968506"/>
                </a:cubicBezTo>
                <a:lnTo>
                  <a:pt x="366964" y="1968506"/>
                </a:lnTo>
                <a:lnTo>
                  <a:pt x="366964" y="1654733"/>
                </a:lnTo>
                <a:lnTo>
                  <a:pt x="549845" y="1654733"/>
                </a:lnTo>
                <a:cubicBezTo>
                  <a:pt x="642430" y="1654733"/>
                  <a:pt x="717485" y="1579678"/>
                  <a:pt x="717485" y="1487093"/>
                </a:cubicBezTo>
                <a:cubicBezTo>
                  <a:pt x="717485" y="1394508"/>
                  <a:pt x="642430" y="1319453"/>
                  <a:pt x="549845" y="1319453"/>
                </a:cubicBezTo>
                <a:lnTo>
                  <a:pt x="366964" y="1319453"/>
                </a:lnTo>
                <a:lnTo>
                  <a:pt x="366964" y="1005680"/>
                </a:lnTo>
                <a:lnTo>
                  <a:pt x="549845" y="1005680"/>
                </a:lnTo>
                <a:cubicBezTo>
                  <a:pt x="642430" y="1005680"/>
                  <a:pt x="717485" y="930625"/>
                  <a:pt x="717485" y="838040"/>
                </a:cubicBezTo>
                <a:cubicBezTo>
                  <a:pt x="717485" y="745455"/>
                  <a:pt x="642430" y="670400"/>
                  <a:pt x="549845" y="670400"/>
                </a:cubicBezTo>
                <a:lnTo>
                  <a:pt x="368275" y="670400"/>
                </a:lnTo>
                <a:cubicBezTo>
                  <a:pt x="374028" y="298955"/>
                  <a:pt x="677284" y="0"/>
                  <a:pt x="1050366" y="0"/>
                </a:cubicBezTo>
                <a:close/>
              </a:path>
            </a:pathLst>
          </a:custGeom>
          <a:solidFill>
            <a:srgbClr val="EE355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no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US" dirty="0" err="1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8" name="Cross 10"/>
          <p:cNvSpPr/>
          <p:nvPr/>
        </p:nvSpPr>
        <p:spPr bwMode="auto">
          <a:xfrm>
            <a:off x="3156578" y="4106323"/>
            <a:ext cx="816558" cy="816346"/>
          </a:xfrm>
          <a:prstGeom prst="plus">
            <a:avLst>
              <a:gd name="adj" fmla="val 37222"/>
            </a:avLst>
          </a:prstGeom>
          <a:solidFill>
            <a:srgbClr val="EE355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US" sz="17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4855594" y="2175457"/>
            <a:ext cx="1098378" cy="548954"/>
            <a:chOff x="-39660" y="798112"/>
            <a:chExt cx="1098378" cy="548954"/>
          </a:xfrm>
        </p:grpSpPr>
        <p:sp>
          <p:nvSpPr>
            <p:cNvPr id="199" name="文本框 198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5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0" name="文本框 199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1" name="组合 200"/>
          <p:cNvGrpSpPr/>
          <p:nvPr/>
        </p:nvGrpSpPr>
        <p:grpSpPr>
          <a:xfrm>
            <a:off x="4859255" y="3003618"/>
            <a:ext cx="1098378" cy="548954"/>
            <a:chOff x="-39660" y="798112"/>
            <a:chExt cx="1098378" cy="548954"/>
          </a:xfrm>
        </p:grpSpPr>
        <p:sp>
          <p:nvSpPr>
            <p:cNvPr id="202" name="文本框 201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6</a:t>
              </a:r>
              <a:r>
                <a:rPr lang="en-US" altLang="zh-CN" sz="24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3" name="文本框 202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4" name="组合 203"/>
          <p:cNvGrpSpPr/>
          <p:nvPr/>
        </p:nvGrpSpPr>
        <p:grpSpPr>
          <a:xfrm>
            <a:off x="4888020" y="3800804"/>
            <a:ext cx="1098378" cy="548954"/>
            <a:chOff x="-39660" y="798112"/>
            <a:chExt cx="1098378" cy="548954"/>
          </a:xfrm>
        </p:grpSpPr>
        <p:sp>
          <p:nvSpPr>
            <p:cNvPr id="205" name="文本框 204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2</a:t>
              </a:r>
              <a:r>
                <a:rPr lang="en-US" altLang="zh-CN" sz="24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6" name="文本框 205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7" name="组合 206"/>
          <p:cNvGrpSpPr/>
          <p:nvPr/>
        </p:nvGrpSpPr>
        <p:grpSpPr>
          <a:xfrm>
            <a:off x="4891681" y="4628965"/>
            <a:ext cx="1098378" cy="548954"/>
            <a:chOff x="-39660" y="798112"/>
            <a:chExt cx="1098378" cy="548954"/>
          </a:xfrm>
        </p:grpSpPr>
        <p:sp>
          <p:nvSpPr>
            <p:cNvPr id="208" name="文本框 207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9</a:t>
              </a:r>
              <a:r>
                <a:rPr lang="en-US" altLang="zh-CN" sz="24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9" name="文本框 208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0" name="组合 209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211" name="组合 210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218" name="矩形 217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9" name="文本框 218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220" name="文本框 219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221" name="直接连接符 220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2" name="椭圆 22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23" name="文本框 222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12" name="组合 211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216" name="六边形 215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7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213" name="组合 212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214" name="六边形 213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5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3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1844015" y="2001615"/>
            <a:ext cx="1601345" cy="1601345"/>
            <a:chOff x="967381" y="1423683"/>
            <a:chExt cx="1828530" cy="1828530"/>
          </a:xfrm>
        </p:grpSpPr>
        <p:sp>
          <p:nvSpPr>
            <p:cNvPr id="127" name="椭圆 126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8" name="矩形 127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0" name="组合 129"/>
          <p:cNvGrpSpPr/>
          <p:nvPr/>
        </p:nvGrpSpPr>
        <p:grpSpPr>
          <a:xfrm>
            <a:off x="1790773" y="3921416"/>
            <a:ext cx="1601345" cy="1601345"/>
            <a:chOff x="967381" y="1423683"/>
            <a:chExt cx="1828530" cy="1828530"/>
          </a:xfrm>
        </p:grpSpPr>
        <p:sp>
          <p:nvSpPr>
            <p:cNvPr id="131" name="椭圆 130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2" name="矩形 131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3" name="组合 132"/>
          <p:cNvGrpSpPr/>
          <p:nvPr/>
        </p:nvGrpSpPr>
        <p:grpSpPr>
          <a:xfrm>
            <a:off x="6287707" y="2011083"/>
            <a:ext cx="1601345" cy="1601345"/>
            <a:chOff x="967381" y="1423683"/>
            <a:chExt cx="1828530" cy="1828530"/>
          </a:xfrm>
        </p:grpSpPr>
        <p:sp>
          <p:nvSpPr>
            <p:cNvPr id="134" name="椭圆 133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5" name="矩形 134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6" name="组合 135"/>
          <p:cNvGrpSpPr/>
          <p:nvPr/>
        </p:nvGrpSpPr>
        <p:grpSpPr>
          <a:xfrm>
            <a:off x="6234465" y="3930884"/>
            <a:ext cx="1601345" cy="1601345"/>
            <a:chOff x="967381" y="1423683"/>
            <a:chExt cx="1828530" cy="1828530"/>
          </a:xfrm>
        </p:grpSpPr>
        <p:sp>
          <p:nvSpPr>
            <p:cNvPr id="137" name="椭圆 136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8" name="矩形 137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91" name="Freeform 11"/>
          <p:cNvSpPr>
            <a:spLocks noEditPoints="1"/>
          </p:cNvSpPr>
          <p:nvPr/>
        </p:nvSpPr>
        <p:spPr bwMode="black">
          <a:xfrm>
            <a:off x="2290553" y="2368244"/>
            <a:ext cx="712790" cy="712419"/>
          </a:xfrm>
          <a:custGeom>
            <a:avLst/>
            <a:gdLst>
              <a:gd name="T0" fmla="*/ 213 w 709"/>
              <a:gd name="T1" fmla="*/ 522 h 709"/>
              <a:gd name="T2" fmla="*/ 213 w 709"/>
              <a:gd name="T3" fmla="*/ 709 h 709"/>
              <a:gd name="T4" fmla="*/ 0 w 709"/>
              <a:gd name="T5" fmla="*/ 709 h 709"/>
              <a:gd name="T6" fmla="*/ 0 w 709"/>
              <a:gd name="T7" fmla="*/ 496 h 709"/>
              <a:gd name="T8" fmla="*/ 88 w 709"/>
              <a:gd name="T9" fmla="*/ 496 h 709"/>
              <a:gd name="T10" fmla="*/ 67 w 709"/>
              <a:gd name="T11" fmla="*/ 522 h 709"/>
              <a:gd name="T12" fmla="*/ 213 w 709"/>
              <a:gd name="T13" fmla="*/ 522 h 709"/>
              <a:gd name="T14" fmla="*/ 619 w 709"/>
              <a:gd name="T15" fmla="*/ 496 h 709"/>
              <a:gd name="T16" fmla="*/ 643 w 709"/>
              <a:gd name="T17" fmla="*/ 522 h 709"/>
              <a:gd name="T18" fmla="*/ 496 w 709"/>
              <a:gd name="T19" fmla="*/ 522 h 709"/>
              <a:gd name="T20" fmla="*/ 496 w 709"/>
              <a:gd name="T21" fmla="*/ 709 h 709"/>
              <a:gd name="T22" fmla="*/ 709 w 709"/>
              <a:gd name="T23" fmla="*/ 709 h 709"/>
              <a:gd name="T24" fmla="*/ 709 w 709"/>
              <a:gd name="T25" fmla="*/ 496 h 709"/>
              <a:gd name="T26" fmla="*/ 619 w 709"/>
              <a:gd name="T27" fmla="*/ 496 h 709"/>
              <a:gd name="T28" fmla="*/ 355 w 709"/>
              <a:gd name="T29" fmla="*/ 182 h 709"/>
              <a:gd name="T30" fmla="*/ 381 w 709"/>
              <a:gd name="T31" fmla="*/ 213 h 709"/>
              <a:gd name="T32" fmla="*/ 461 w 709"/>
              <a:gd name="T33" fmla="*/ 213 h 709"/>
              <a:gd name="T34" fmla="*/ 461 w 709"/>
              <a:gd name="T35" fmla="*/ 0 h 709"/>
              <a:gd name="T36" fmla="*/ 248 w 709"/>
              <a:gd name="T37" fmla="*/ 0 h 709"/>
              <a:gd name="T38" fmla="*/ 248 w 709"/>
              <a:gd name="T39" fmla="*/ 213 h 709"/>
              <a:gd name="T40" fmla="*/ 329 w 709"/>
              <a:gd name="T41" fmla="*/ 213 h 709"/>
              <a:gd name="T42" fmla="*/ 355 w 709"/>
              <a:gd name="T43" fmla="*/ 182 h 709"/>
              <a:gd name="T44" fmla="*/ 123 w 709"/>
              <a:gd name="T45" fmla="*/ 248 h 709"/>
              <a:gd name="T46" fmla="*/ 123 w 709"/>
              <a:gd name="T47" fmla="*/ 454 h 709"/>
              <a:gd name="T48" fmla="*/ 298 w 709"/>
              <a:gd name="T49" fmla="*/ 248 h 709"/>
              <a:gd name="T50" fmla="*/ 123 w 709"/>
              <a:gd name="T51" fmla="*/ 248 h 709"/>
              <a:gd name="T52" fmla="*/ 355 w 709"/>
              <a:gd name="T53" fmla="*/ 225 h 709"/>
              <a:gd name="T54" fmla="*/ 128 w 709"/>
              <a:gd name="T55" fmla="*/ 494 h 709"/>
              <a:gd name="T56" fmla="*/ 248 w 709"/>
              <a:gd name="T57" fmla="*/ 494 h 709"/>
              <a:gd name="T58" fmla="*/ 248 w 709"/>
              <a:gd name="T59" fmla="*/ 709 h 709"/>
              <a:gd name="T60" fmla="*/ 461 w 709"/>
              <a:gd name="T61" fmla="*/ 709 h 709"/>
              <a:gd name="T62" fmla="*/ 461 w 709"/>
              <a:gd name="T63" fmla="*/ 494 h 709"/>
              <a:gd name="T64" fmla="*/ 581 w 709"/>
              <a:gd name="T65" fmla="*/ 494 h 709"/>
              <a:gd name="T66" fmla="*/ 355 w 709"/>
              <a:gd name="T67" fmla="*/ 225 h 709"/>
              <a:gd name="T68" fmla="*/ 584 w 709"/>
              <a:gd name="T69" fmla="*/ 248 h 709"/>
              <a:gd name="T70" fmla="*/ 411 w 709"/>
              <a:gd name="T71" fmla="*/ 248 h 709"/>
              <a:gd name="T72" fmla="*/ 584 w 709"/>
              <a:gd name="T73" fmla="*/ 454 h 709"/>
              <a:gd name="T74" fmla="*/ 584 w 709"/>
              <a:gd name="T75" fmla="*/ 248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09" h="709">
                <a:moveTo>
                  <a:pt x="213" y="522"/>
                </a:moveTo>
                <a:lnTo>
                  <a:pt x="213" y="709"/>
                </a:lnTo>
                <a:lnTo>
                  <a:pt x="0" y="709"/>
                </a:lnTo>
                <a:lnTo>
                  <a:pt x="0" y="496"/>
                </a:lnTo>
                <a:lnTo>
                  <a:pt x="88" y="496"/>
                </a:lnTo>
                <a:lnTo>
                  <a:pt x="67" y="522"/>
                </a:lnTo>
                <a:lnTo>
                  <a:pt x="213" y="522"/>
                </a:lnTo>
                <a:close/>
                <a:moveTo>
                  <a:pt x="619" y="496"/>
                </a:moveTo>
                <a:lnTo>
                  <a:pt x="643" y="522"/>
                </a:lnTo>
                <a:lnTo>
                  <a:pt x="496" y="522"/>
                </a:lnTo>
                <a:lnTo>
                  <a:pt x="496" y="709"/>
                </a:lnTo>
                <a:lnTo>
                  <a:pt x="709" y="709"/>
                </a:lnTo>
                <a:lnTo>
                  <a:pt x="709" y="496"/>
                </a:lnTo>
                <a:lnTo>
                  <a:pt x="619" y="496"/>
                </a:lnTo>
                <a:close/>
                <a:moveTo>
                  <a:pt x="355" y="182"/>
                </a:moveTo>
                <a:lnTo>
                  <a:pt x="381" y="213"/>
                </a:lnTo>
                <a:lnTo>
                  <a:pt x="461" y="213"/>
                </a:lnTo>
                <a:lnTo>
                  <a:pt x="461" y="0"/>
                </a:lnTo>
                <a:lnTo>
                  <a:pt x="248" y="0"/>
                </a:lnTo>
                <a:lnTo>
                  <a:pt x="248" y="213"/>
                </a:lnTo>
                <a:lnTo>
                  <a:pt x="329" y="213"/>
                </a:lnTo>
                <a:lnTo>
                  <a:pt x="355" y="182"/>
                </a:lnTo>
                <a:close/>
                <a:moveTo>
                  <a:pt x="123" y="248"/>
                </a:moveTo>
                <a:lnTo>
                  <a:pt x="123" y="454"/>
                </a:lnTo>
                <a:lnTo>
                  <a:pt x="298" y="248"/>
                </a:lnTo>
                <a:lnTo>
                  <a:pt x="123" y="248"/>
                </a:lnTo>
                <a:close/>
                <a:moveTo>
                  <a:pt x="355" y="225"/>
                </a:moveTo>
                <a:lnTo>
                  <a:pt x="128" y="494"/>
                </a:lnTo>
                <a:lnTo>
                  <a:pt x="248" y="494"/>
                </a:lnTo>
                <a:lnTo>
                  <a:pt x="248" y="709"/>
                </a:lnTo>
                <a:lnTo>
                  <a:pt x="461" y="709"/>
                </a:lnTo>
                <a:lnTo>
                  <a:pt x="461" y="494"/>
                </a:lnTo>
                <a:lnTo>
                  <a:pt x="581" y="494"/>
                </a:lnTo>
                <a:lnTo>
                  <a:pt x="355" y="225"/>
                </a:lnTo>
                <a:close/>
                <a:moveTo>
                  <a:pt x="584" y="248"/>
                </a:moveTo>
                <a:lnTo>
                  <a:pt x="411" y="248"/>
                </a:lnTo>
                <a:lnTo>
                  <a:pt x="584" y="454"/>
                </a:lnTo>
                <a:lnTo>
                  <a:pt x="584" y="248"/>
                </a:ln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0" tIns="41153" rIns="82305" bIns="41153" numCol="1" anchor="t" anchorCtr="0" compatLnSpc="1"/>
          <a:lstStyle/>
          <a:p>
            <a:pPr algn="ctr"/>
            <a:endParaRPr lang="en-US" sz="1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192" name="Group 16"/>
          <p:cNvGrpSpPr/>
          <p:nvPr/>
        </p:nvGrpSpPr>
        <p:grpSpPr>
          <a:xfrm>
            <a:off x="2285794" y="4345639"/>
            <a:ext cx="696976" cy="694038"/>
            <a:chOff x="7988334" y="5213829"/>
            <a:chExt cx="481488" cy="479583"/>
          </a:xfrm>
          <a:solidFill>
            <a:srgbClr val="EE3551"/>
          </a:solidFill>
        </p:grpSpPr>
        <p:sp>
          <p:nvSpPr>
            <p:cNvPr id="193" name="Rectangle 17"/>
            <p:cNvSpPr/>
            <p:nvPr/>
          </p:nvSpPr>
          <p:spPr bwMode="auto">
            <a:xfrm>
              <a:off x="7988334" y="5213829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noAutofit/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4" name="Rectangle 18"/>
            <p:cNvSpPr/>
            <p:nvPr/>
          </p:nvSpPr>
          <p:spPr bwMode="auto">
            <a:xfrm>
              <a:off x="8243126" y="5213829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noAutofit/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0" name="Rectangle 19"/>
            <p:cNvSpPr/>
            <p:nvPr/>
          </p:nvSpPr>
          <p:spPr bwMode="auto">
            <a:xfrm>
              <a:off x="7988334" y="5466716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noAutofit/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1" name="Rectangle 20"/>
            <p:cNvSpPr/>
            <p:nvPr/>
          </p:nvSpPr>
          <p:spPr bwMode="auto">
            <a:xfrm>
              <a:off x="8243126" y="5466716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noAutofit/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12" name="Freeform 22"/>
          <p:cNvSpPr>
            <a:spLocks noEditPoints="1"/>
          </p:cNvSpPr>
          <p:nvPr/>
        </p:nvSpPr>
        <p:spPr bwMode="black">
          <a:xfrm>
            <a:off x="6746946" y="2370518"/>
            <a:ext cx="780675" cy="834295"/>
          </a:xfrm>
          <a:custGeom>
            <a:avLst/>
            <a:gdLst>
              <a:gd name="T0" fmla="*/ 300 w 300"/>
              <a:gd name="T1" fmla="*/ 141 h 300"/>
              <a:gd name="T2" fmla="*/ 285 w 300"/>
              <a:gd name="T3" fmla="*/ 141 h 300"/>
              <a:gd name="T4" fmla="*/ 159 w 300"/>
              <a:gd name="T5" fmla="*/ 15 h 300"/>
              <a:gd name="T6" fmla="*/ 159 w 300"/>
              <a:gd name="T7" fmla="*/ 0 h 300"/>
              <a:gd name="T8" fmla="*/ 141 w 300"/>
              <a:gd name="T9" fmla="*/ 0 h 300"/>
              <a:gd name="T10" fmla="*/ 141 w 300"/>
              <a:gd name="T11" fmla="*/ 15 h 300"/>
              <a:gd name="T12" fmla="*/ 15 w 300"/>
              <a:gd name="T13" fmla="*/ 141 h 300"/>
              <a:gd name="T14" fmla="*/ 0 w 300"/>
              <a:gd name="T15" fmla="*/ 141 h 300"/>
              <a:gd name="T16" fmla="*/ 0 w 300"/>
              <a:gd name="T17" fmla="*/ 159 h 300"/>
              <a:gd name="T18" fmla="*/ 15 w 300"/>
              <a:gd name="T19" fmla="*/ 159 h 300"/>
              <a:gd name="T20" fmla="*/ 141 w 300"/>
              <a:gd name="T21" fmla="*/ 285 h 300"/>
              <a:gd name="T22" fmla="*/ 141 w 300"/>
              <a:gd name="T23" fmla="*/ 300 h 300"/>
              <a:gd name="T24" fmla="*/ 159 w 300"/>
              <a:gd name="T25" fmla="*/ 300 h 300"/>
              <a:gd name="T26" fmla="*/ 159 w 300"/>
              <a:gd name="T27" fmla="*/ 285 h 300"/>
              <a:gd name="T28" fmla="*/ 285 w 300"/>
              <a:gd name="T29" fmla="*/ 159 h 300"/>
              <a:gd name="T30" fmla="*/ 300 w 300"/>
              <a:gd name="T31" fmla="*/ 159 h 300"/>
              <a:gd name="T32" fmla="*/ 300 w 300"/>
              <a:gd name="T33" fmla="*/ 141 h 300"/>
              <a:gd name="T34" fmla="*/ 258 w 300"/>
              <a:gd name="T35" fmla="*/ 141 h 300"/>
              <a:gd name="T36" fmla="*/ 230 w 300"/>
              <a:gd name="T37" fmla="*/ 141 h 300"/>
              <a:gd name="T38" fmla="*/ 159 w 300"/>
              <a:gd name="T39" fmla="*/ 70 h 300"/>
              <a:gd name="T40" fmla="*/ 159 w 300"/>
              <a:gd name="T41" fmla="*/ 42 h 300"/>
              <a:gd name="T42" fmla="*/ 258 w 300"/>
              <a:gd name="T43" fmla="*/ 141 h 300"/>
              <a:gd name="T44" fmla="*/ 141 w 300"/>
              <a:gd name="T45" fmla="*/ 125 h 300"/>
              <a:gd name="T46" fmla="*/ 125 w 300"/>
              <a:gd name="T47" fmla="*/ 141 h 300"/>
              <a:gd name="T48" fmla="*/ 97 w 300"/>
              <a:gd name="T49" fmla="*/ 141 h 300"/>
              <a:gd name="T50" fmla="*/ 141 w 300"/>
              <a:gd name="T51" fmla="*/ 97 h 300"/>
              <a:gd name="T52" fmla="*/ 141 w 300"/>
              <a:gd name="T53" fmla="*/ 125 h 300"/>
              <a:gd name="T54" fmla="*/ 125 w 300"/>
              <a:gd name="T55" fmla="*/ 159 h 300"/>
              <a:gd name="T56" fmla="*/ 141 w 300"/>
              <a:gd name="T57" fmla="*/ 175 h 300"/>
              <a:gd name="T58" fmla="*/ 141 w 300"/>
              <a:gd name="T59" fmla="*/ 203 h 300"/>
              <a:gd name="T60" fmla="*/ 97 w 300"/>
              <a:gd name="T61" fmla="*/ 159 h 300"/>
              <a:gd name="T62" fmla="*/ 125 w 300"/>
              <a:gd name="T63" fmla="*/ 159 h 300"/>
              <a:gd name="T64" fmla="*/ 159 w 300"/>
              <a:gd name="T65" fmla="*/ 175 h 300"/>
              <a:gd name="T66" fmla="*/ 175 w 300"/>
              <a:gd name="T67" fmla="*/ 159 h 300"/>
              <a:gd name="T68" fmla="*/ 203 w 300"/>
              <a:gd name="T69" fmla="*/ 159 h 300"/>
              <a:gd name="T70" fmla="*/ 159 w 300"/>
              <a:gd name="T71" fmla="*/ 203 h 300"/>
              <a:gd name="T72" fmla="*/ 159 w 300"/>
              <a:gd name="T73" fmla="*/ 175 h 300"/>
              <a:gd name="T74" fmla="*/ 175 w 300"/>
              <a:gd name="T75" fmla="*/ 141 h 300"/>
              <a:gd name="T76" fmla="*/ 159 w 300"/>
              <a:gd name="T77" fmla="*/ 125 h 300"/>
              <a:gd name="T78" fmla="*/ 159 w 300"/>
              <a:gd name="T79" fmla="*/ 97 h 300"/>
              <a:gd name="T80" fmla="*/ 203 w 300"/>
              <a:gd name="T81" fmla="*/ 141 h 300"/>
              <a:gd name="T82" fmla="*/ 175 w 300"/>
              <a:gd name="T83" fmla="*/ 141 h 300"/>
              <a:gd name="T84" fmla="*/ 141 w 300"/>
              <a:gd name="T85" fmla="*/ 42 h 300"/>
              <a:gd name="T86" fmla="*/ 141 w 300"/>
              <a:gd name="T87" fmla="*/ 70 h 300"/>
              <a:gd name="T88" fmla="*/ 70 w 300"/>
              <a:gd name="T89" fmla="*/ 141 h 300"/>
              <a:gd name="T90" fmla="*/ 42 w 300"/>
              <a:gd name="T91" fmla="*/ 141 h 300"/>
              <a:gd name="T92" fmla="*/ 141 w 300"/>
              <a:gd name="T93" fmla="*/ 42 h 300"/>
              <a:gd name="T94" fmla="*/ 42 w 300"/>
              <a:gd name="T95" fmla="*/ 159 h 300"/>
              <a:gd name="T96" fmla="*/ 70 w 300"/>
              <a:gd name="T97" fmla="*/ 159 h 300"/>
              <a:gd name="T98" fmla="*/ 141 w 300"/>
              <a:gd name="T99" fmla="*/ 230 h 300"/>
              <a:gd name="T100" fmla="*/ 141 w 300"/>
              <a:gd name="T101" fmla="*/ 258 h 300"/>
              <a:gd name="T102" fmla="*/ 42 w 300"/>
              <a:gd name="T103" fmla="*/ 159 h 300"/>
              <a:gd name="T104" fmla="*/ 159 w 300"/>
              <a:gd name="T105" fmla="*/ 258 h 300"/>
              <a:gd name="T106" fmla="*/ 159 w 300"/>
              <a:gd name="T107" fmla="*/ 230 h 300"/>
              <a:gd name="T108" fmla="*/ 230 w 300"/>
              <a:gd name="T109" fmla="*/ 159 h 300"/>
              <a:gd name="T110" fmla="*/ 258 w 300"/>
              <a:gd name="T111" fmla="*/ 159 h 300"/>
              <a:gd name="T112" fmla="*/ 159 w 300"/>
              <a:gd name="T113" fmla="*/ 258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0" h="300">
                <a:moveTo>
                  <a:pt x="300" y="141"/>
                </a:moveTo>
                <a:cubicBezTo>
                  <a:pt x="285" y="141"/>
                  <a:pt x="285" y="141"/>
                  <a:pt x="285" y="141"/>
                </a:cubicBezTo>
                <a:cubicBezTo>
                  <a:pt x="280" y="74"/>
                  <a:pt x="226" y="20"/>
                  <a:pt x="159" y="15"/>
                </a:cubicBezTo>
                <a:cubicBezTo>
                  <a:pt x="159" y="0"/>
                  <a:pt x="159" y="0"/>
                  <a:pt x="159" y="0"/>
                </a:cubicBezTo>
                <a:cubicBezTo>
                  <a:pt x="141" y="0"/>
                  <a:pt x="141" y="0"/>
                  <a:pt x="141" y="0"/>
                </a:cubicBezTo>
                <a:cubicBezTo>
                  <a:pt x="141" y="15"/>
                  <a:pt x="141" y="15"/>
                  <a:pt x="141" y="15"/>
                </a:cubicBezTo>
                <a:cubicBezTo>
                  <a:pt x="74" y="20"/>
                  <a:pt x="20" y="74"/>
                  <a:pt x="15" y="141"/>
                </a:cubicBezTo>
                <a:cubicBezTo>
                  <a:pt x="0" y="141"/>
                  <a:pt x="0" y="141"/>
                  <a:pt x="0" y="141"/>
                </a:cubicBezTo>
                <a:cubicBezTo>
                  <a:pt x="0" y="159"/>
                  <a:pt x="0" y="159"/>
                  <a:pt x="0" y="159"/>
                </a:cubicBezTo>
                <a:cubicBezTo>
                  <a:pt x="15" y="159"/>
                  <a:pt x="15" y="159"/>
                  <a:pt x="15" y="159"/>
                </a:cubicBezTo>
                <a:cubicBezTo>
                  <a:pt x="20" y="226"/>
                  <a:pt x="74" y="280"/>
                  <a:pt x="141" y="285"/>
                </a:cubicBezTo>
                <a:cubicBezTo>
                  <a:pt x="141" y="300"/>
                  <a:pt x="141" y="300"/>
                  <a:pt x="141" y="300"/>
                </a:cubicBezTo>
                <a:cubicBezTo>
                  <a:pt x="159" y="300"/>
                  <a:pt x="159" y="300"/>
                  <a:pt x="159" y="300"/>
                </a:cubicBezTo>
                <a:cubicBezTo>
                  <a:pt x="159" y="285"/>
                  <a:pt x="159" y="285"/>
                  <a:pt x="159" y="285"/>
                </a:cubicBezTo>
                <a:cubicBezTo>
                  <a:pt x="226" y="280"/>
                  <a:pt x="280" y="226"/>
                  <a:pt x="285" y="159"/>
                </a:cubicBezTo>
                <a:cubicBezTo>
                  <a:pt x="300" y="159"/>
                  <a:pt x="300" y="159"/>
                  <a:pt x="300" y="159"/>
                </a:cubicBezTo>
                <a:lnTo>
                  <a:pt x="300" y="141"/>
                </a:lnTo>
                <a:close/>
                <a:moveTo>
                  <a:pt x="258" y="141"/>
                </a:moveTo>
                <a:cubicBezTo>
                  <a:pt x="230" y="141"/>
                  <a:pt x="230" y="141"/>
                  <a:pt x="230" y="141"/>
                </a:cubicBezTo>
                <a:cubicBezTo>
                  <a:pt x="226" y="103"/>
                  <a:pt x="197" y="74"/>
                  <a:pt x="159" y="70"/>
                </a:cubicBezTo>
                <a:cubicBezTo>
                  <a:pt x="159" y="42"/>
                  <a:pt x="159" y="42"/>
                  <a:pt x="159" y="42"/>
                </a:cubicBezTo>
                <a:cubicBezTo>
                  <a:pt x="211" y="47"/>
                  <a:pt x="253" y="89"/>
                  <a:pt x="258" y="141"/>
                </a:cubicBezTo>
                <a:close/>
                <a:moveTo>
                  <a:pt x="141" y="125"/>
                </a:moveTo>
                <a:cubicBezTo>
                  <a:pt x="133" y="127"/>
                  <a:pt x="127" y="133"/>
                  <a:pt x="125" y="141"/>
                </a:cubicBezTo>
                <a:cubicBezTo>
                  <a:pt x="97" y="141"/>
                  <a:pt x="97" y="141"/>
                  <a:pt x="97" y="141"/>
                </a:cubicBezTo>
                <a:cubicBezTo>
                  <a:pt x="101" y="118"/>
                  <a:pt x="118" y="101"/>
                  <a:pt x="141" y="97"/>
                </a:cubicBezTo>
                <a:lnTo>
                  <a:pt x="141" y="125"/>
                </a:lnTo>
                <a:close/>
                <a:moveTo>
                  <a:pt x="125" y="159"/>
                </a:moveTo>
                <a:cubicBezTo>
                  <a:pt x="127" y="167"/>
                  <a:pt x="133" y="173"/>
                  <a:pt x="141" y="175"/>
                </a:cubicBezTo>
                <a:cubicBezTo>
                  <a:pt x="141" y="203"/>
                  <a:pt x="141" y="203"/>
                  <a:pt x="141" y="203"/>
                </a:cubicBezTo>
                <a:cubicBezTo>
                  <a:pt x="118" y="199"/>
                  <a:pt x="101" y="182"/>
                  <a:pt x="97" y="159"/>
                </a:cubicBezTo>
                <a:lnTo>
                  <a:pt x="125" y="159"/>
                </a:lnTo>
                <a:close/>
                <a:moveTo>
                  <a:pt x="159" y="175"/>
                </a:moveTo>
                <a:cubicBezTo>
                  <a:pt x="167" y="173"/>
                  <a:pt x="173" y="167"/>
                  <a:pt x="175" y="159"/>
                </a:cubicBezTo>
                <a:cubicBezTo>
                  <a:pt x="203" y="159"/>
                  <a:pt x="203" y="159"/>
                  <a:pt x="203" y="159"/>
                </a:cubicBezTo>
                <a:cubicBezTo>
                  <a:pt x="199" y="182"/>
                  <a:pt x="182" y="199"/>
                  <a:pt x="159" y="203"/>
                </a:cubicBezTo>
                <a:lnTo>
                  <a:pt x="159" y="175"/>
                </a:lnTo>
                <a:close/>
                <a:moveTo>
                  <a:pt x="175" y="141"/>
                </a:moveTo>
                <a:cubicBezTo>
                  <a:pt x="173" y="133"/>
                  <a:pt x="167" y="127"/>
                  <a:pt x="159" y="125"/>
                </a:cubicBezTo>
                <a:cubicBezTo>
                  <a:pt x="159" y="97"/>
                  <a:pt x="159" y="97"/>
                  <a:pt x="159" y="97"/>
                </a:cubicBezTo>
                <a:cubicBezTo>
                  <a:pt x="182" y="101"/>
                  <a:pt x="199" y="118"/>
                  <a:pt x="203" y="141"/>
                </a:cubicBezTo>
                <a:lnTo>
                  <a:pt x="175" y="141"/>
                </a:lnTo>
                <a:close/>
                <a:moveTo>
                  <a:pt x="141" y="42"/>
                </a:moveTo>
                <a:cubicBezTo>
                  <a:pt x="141" y="70"/>
                  <a:pt x="141" y="70"/>
                  <a:pt x="141" y="70"/>
                </a:cubicBezTo>
                <a:cubicBezTo>
                  <a:pt x="103" y="74"/>
                  <a:pt x="74" y="103"/>
                  <a:pt x="70" y="141"/>
                </a:cubicBezTo>
                <a:cubicBezTo>
                  <a:pt x="42" y="141"/>
                  <a:pt x="42" y="141"/>
                  <a:pt x="42" y="141"/>
                </a:cubicBezTo>
                <a:cubicBezTo>
                  <a:pt x="47" y="89"/>
                  <a:pt x="89" y="47"/>
                  <a:pt x="141" y="42"/>
                </a:cubicBezTo>
                <a:close/>
                <a:moveTo>
                  <a:pt x="42" y="159"/>
                </a:moveTo>
                <a:cubicBezTo>
                  <a:pt x="70" y="159"/>
                  <a:pt x="70" y="159"/>
                  <a:pt x="70" y="159"/>
                </a:cubicBezTo>
                <a:cubicBezTo>
                  <a:pt x="74" y="197"/>
                  <a:pt x="103" y="226"/>
                  <a:pt x="141" y="230"/>
                </a:cubicBezTo>
                <a:cubicBezTo>
                  <a:pt x="141" y="258"/>
                  <a:pt x="141" y="258"/>
                  <a:pt x="141" y="258"/>
                </a:cubicBezTo>
                <a:cubicBezTo>
                  <a:pt x="89" y="253"/>
                  <a:pt x="47" y="211"/>
                  <a:pt x="42" y="159"/>
                </a:cubicBezTo>
                <a:close/>
                <a:moveTo>
                  <a:pt x="159" y="258"/>
                </a:moveTo>
                <a:cubicBezTo>
                  <a:pt x="159" y="230"/>
                  <a:pt x="159" y="230"/>
                  <a:pt x="159" y="230"/>
                </a:cubicBezTo>
                <a:cubicBezTo>
                  <a:pt x="197" y="226"/>
                  <a:pt x="226" y="197"/>
                  <a:pt x="230" y="159"/>
                </a:cubicBezTo>
                <a:cubicBezTo>
                  <a:pt x="258" y="159"/>
                  <a:pt x="258" y="159"/>
                  <a:pt x="258" y="159"/>
                </a:cubicBezTo>
                <a:cubicBezTo>
                  <a:pt x="253" y="211"/>
                  <a:pt x="211" y="253"/>
                  <a:pt x="159" y="258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82305" tIns="41153" rIns="82305" bIns="41153" numCol="1" anchor="t" anchorCtr="0" compatLnSpc="1"/>
          <a:lstStyle/>
          <a:p>
            <a:endParaRPr lang="en-US" sz="1200"/>
          </a:p>
        </p:txBody>
      </p:sp>
      <p:sp>
        <p:nvSpPr>
          <p:cNvPr id="213" name="Freeform 23"/>
          <p:cNvSpPr>
            <a:spLocks noEditPoints="1"/>
          </p:cNvSpPr>
          <p:nvPr/>
        </p:nvSpPr>
        <p:spPr bwMode="black">
          <a:xfrm>
            <a:off x="6763872" y="4367182"/>
            <a:ext cx="663380" cy="660481"/>
          </a:xfrm>
          <a:custGeom>
            <a:avLst/>
            <a:gdLst>
              <a:gd name="T0" fmla="*/ 709 w 709"/>
              <a:gd name="T1" fmla="*/ 570 h 709"/>
              <a:gd name="T2" fmla="*/ 373 w 709"/>
              <a:gd name="T3" fmla="*/ 709 h 709"/>
              <a:gd name="T4" fmla="*/ 373 w 709"/>
              <a:gd name="T5" fmla="*/ 294 h 709"/>
              <a:gd name="T6" fmla="*/ 709 w 709"/>
              <a:gd name="T7" fmla="*/ 154 h 709"/>
              <a:gd name="T8" fmla="*/ 709 w 709"/>
              <a:gd name="T9" fmla="*/ 570 h 709"/>
              <a:gd name="T10" fmla="*/ 335 w 709"/>
              <a:gd name="T11" fmla="*/ 294 h 709"/>
              <a:gd name="T12" fmla="*/ 0 w 709"/>
              <a:gd name="T13" fmla="*/ 154 h 709"/>
              <a:gd name="T14" fmla="*/ 0 w 709"/>
              <a:gd name="T15" fmla="*/ 570 h 709"/>
              <a:gd name="T16" fmla="*/ 335 w 709"/>
              <a:gd name="T17" fmla="*/ 709 h 709"/>
              <a:gd name="T18" fmla="*/ 335 w 709"/>
              <a:gd name="T19" fmla="*/ 294 h 709"/>
              <a:gd name="T20" fmla="*/ 354 w 709"/>
              <a:gd name="T21" fmla="*/ 0 h 709"/>
              <a:gd name="T22" fmla="*/ 0 w 709"/>
              <a:gd name="T23" fmla="*/ 126 h 709"/>
              <a:gd name="T24" fmla="*/ 354 w 709"/>
              <a:gd name="T25" fmla="*/ 268 h 709"/>
              <a:gd name="T26" fmla="*/ 709 w 709"/>
              <a:gd name="T27" fmla="*/ 126 h 709"/>
              <a:gd name="T28" fmla="*/ 354 w 709"/>
              <a:gd name="T29" fmla="*/ 0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09" h="709">
                <a:moveTo>
                  <a:pt x="709" y="570"/>
                </a:moveTo>
                <a:lnTo>
                  <a:pt x="373" y="709"/>
                </a:lnTo>
                <a:lnTo>
                  <a:pt x="373" y="294"/>
                </a:lnTo>
                <a:lnTo>
                  <a:pt x="709" y="154"/>
                </a:lnTo>
                <a:lnTo>
                  <a:pt x="709" y="570"/>
                </a:lnTo>
                <a:close/>
                <a:moveTo>
                  <a:pt x="335" y="294"/>
                </a:moveTo>
                <a:lnTo>
                  <a:pt x="0" y="154"/>
                </a:lnTo>
                <a:lnTo>
                  <a:pt x="0" y="570"/>
                </a:lnTo>
                <a:lnTo>
                  <a:pt x="335" y="709"/>
                </a:lnTo>
                <a:lnTo>
                  <a:pt x="335" y="294"/>
                </a:lnTo>
                <a:close/>
                <a:moveTo>
                  <a:pt x="354" y="0"/>
                </a:moveTo>
                <a:lnTo>
                  <a:pt x="0" y="126"/>
                </a:lnTo>
                <a:lnTo>
                  <a:pt x="354" y="268"/>
                </a:lnTo>
                <a:lnTo>
                  <a:pt x="709" y="126"/>
                </a:lnTo>
                <a:lnTo>
                  <a:pt x="354" y="0"/>
                </a:ln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82305" tIns="41153" rIns="82305" bIns="41153" numCol="1" anchor="t" anchorCtr="0" compatLnSpc="1"/>
          <a:lstStyle/>
          <a:p>
            <a:endParaRPr lang="en-US" sz="1200"/>
          </a:p>
        </p:txBody>
      </p:sp>
      <p:grpSp>
        <p:nvGrpSpPr>
          <p:cNvPr id="48" name="组合 47"/>
          <p:cNvGrpSpPr/>
          <p:nvPr/>
        </p:nvGrpSpPr>
        <p:grpSpPr>
          <a:xfrm>
            <a:off x="3523445" y="1922947"/>
            <a:ext cx="2415527" cy="1567274"/>
            <a:chOff x="3312431" y="1899501"/>
            <a:chExt cx="2415527" cy="1567274"/>
          </a:xfrm>
        </p:grpSpPr>
        <p:cxnSp>
          <p:nvCxnSpPr>
            <p:cNvPr id="214" name="直接连接符 213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TextBox 60"/>
            <p:cNvSpPr txBox="1"/>
            <p:nvPr/>
          </p:nvSpPr>
          <p:spPr>
            <a:xfrm>
              <a:off x="3317737" y="1899501"/>
              <a:ext cx="1610393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rgbClr val="FFFFFF"/>
                  </a:solidFill>
                </a:rPr>
                <a:t>Intelligence flows back into machines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47" name="矩形 46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  <a:endParaRPr lang="en-US" altLang="zh-CN" sz="1200" dirty="0" smtClean="0">
                <a:solidFill>
                  <a:schemeClr val="bg1"/>
                </a:solidFill>
              </a:endParaRPr>
            </a:p>
            <a:p>
              <a:r>
                <a:rPr lang="en-US" altLang="zh-CN" sz="1200" dirty="0" err="1" smtClean="0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 smtClean="0">
                  <a:solidFill>
                    <a:schemeClr val="bg1"/>
                  </a:solidFill>
                </a:rPr>
                <a:t> APIs are designed using best practices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6" name="组合 215"/>
          <p:cNvGrpSpPr/>
          <p:nvPr/>
        </p:nvGrpSpPr>
        <p:grpSpPr>
          <a:xfrm>
            <a:off x="3515803" y="3855262"/>
            <a:ext cx="2415527" cy="1567274"/>
            <a:chOff x="3312431" y="1899501"/>
            <a:chExt cx="2415527" cy="1567274"/>
          </a:xfrm>
        </p:grpSpPr>
        <p:cxnSp>
          <p:nvCxnSpPr>
            <p:cNvPr id="217" name="直接连接符 216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8" name="TextBox 60"/>
            <p:cNvSpPr txBox="1"/>
            <p:nvPr/>
          </p:nvSpPr>
          <p:spPr>
            <a:xfrm>
              <a:off x="3317737" y="1899501"/>
              <a:ext cx="2344589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 smtClean="0">
                  <a:solidFill>
                    <a:srgbClr val="FFFFFF"/>
                  </a:solidFill>
                </a:rPr>
                <a:t>Extraction and storage of proprietary machine data stream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19" name="矩形 218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  <a:endParaRPr lang="en-US" altLang="zh-CN" sz="1200" dirty="0" smtClean="0">
                <a:solidFill>
                  <a:schemeClr val="bg1"/>
                </a:solidFill>
              </a:endParaRPr>
            </a:p>
            <a:p>
              <a:r>
                <a:rPr lang="en-US" altLang="zh-CN" sz="1200" dirty="0" err="1" smtClean="0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 smtClean="0">
                  <a:solidFill>
                    <a:schemeClr val="bg1"/>
                  </a:solidFill>
                </a:rPr>
                <a:t> APIs are designed using best practices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0" name="组合 219"/>
          <p:cNvGrpSpPr/>
          <p:nvPr/>
        </p:nvGrpSpPr>
        <p:grpSpPr>
          <a:xfrm>
            <a:off x="7988231" y="1923768"/>
            <a:ext cx="2415527" cy="1567274"/>
            <a:chOff x="3312431" y="1899501"/>
            <a:chExt cx="2415527" cy="1567274"/>
          </a:xfrm>
        </p:grpSpPr>
        <p:cxnSp>
          <p:nvCxnSpPr>
            <p:cNvPr id="221" name="直接连接符 220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2" name="TextBox 60"/>
            <p:cNvSpPr txBox="1"/>
            <p:nvPr/>
          </p:nvSpPr>
          <p:spPr>
            <a:xfrm>
              <a:off x="3317737" y="1899501"/>
              <a:ext cx="1610393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 smtClean="0">
                  <a:solidFill>
                    <a:srgbClr val="FFFFFF"/>
                  </a:solidFill>
                </a:rPr>
                <a:t>PHYSICAL AND HUMAN NETWORKS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23" name="矩形 222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  <a:endParaRPr lang="en-US" altLang="zh-CN" sz="1200" dirty="0" smtClean="0">
                <a:solidFill>
                  <a:schemeClr val="bg1"/>
                </a:solidFill>
              </a:endParaRPr>
            </a:p>
            <a:p>
              <a:r>
                <a:rPr lang="en-US" altLang="zh-CN" sz="1200" dirty="0" err="1" smtClean="0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 smtClean="0">
                  <a:solidFill>
                    <a:schemeClr val="bg1"/>
                  </a:solidFill>
                </a:rPr>
                <a:t> APIs are designed using best practices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4" name="组合 223"/>
          <p:cNvGrpSpPr/>
          <p:nvPr/>
        </p:nvGrpSpPr>
        <p:grpSpPr>
          <a:xfrm>
            <a:off x="7980589" y="3856083"/>
            <a:ext cx="2415527" cy="1567274"/>
            <a:chOff x="3312431" y="1899501"/>
            <a:chExt cx="2415527" cy="1567274"/>
          </a:xfrm>
        </p:grpSpPr>
        <p:cxnSp>
          <p:nvCxnSpPr>
            <p:cNvPr id="225" name="直接连接符 224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6" name="TextBox 60"/>
            <p:cNvSpPr txBox="1"/>
            <p:nvPr/>
          </p:nvSpPr>
          <p:spPr>
            <a:xfrm>
              <a:off x="3317737" y="1899501"/>
              <a:ext cx="2262004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 smtClean="0">
                  <a:solidFill>
                    <a:srgbClr val="FFFFFF"/>
                  </a:solidFill>
                </a:rPr>
                <a:t>Machine-based algorithms and data analysis</a:t>
              </a: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27" name="矩形 226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 smtClean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  <a:endParaRPr lang="en-US" altLang="zh-CN" sz="1200" dirty="0" smtClean="0">
                <a:solidFill>
                  <a:schemeClr val="bg1"/>
                </a:solidFill>
              </a:endParaRPr>
            </a:p>
            <a:p>
              <a:r>
                <a:rPr lang="en-US" altLang="zh-CN" sz="1200" dirty="0" err="1" smtClean="0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 smtClean="0">
                  <a:solidFill>
                    <a:schemeClr val="bg1"/>
                  </a:solidFill>
                </a:rPr>
                <a:t> APIs are designed using best practices</a:t>
              </a:r>
              <a:endParaRPr lang="en-US" altLang="zh-CN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28" name="组合 22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229" name="组合 22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236" name="矩形 23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7" name="文本框 23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238" name="文本框 23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239" name="直接连接符 23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0" name="椭圆 23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41" name="文本框 24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0" name="组合 22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234" name="六边形 23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231" name="组合 23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232" name="六边形 23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443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4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90" name="TextBox 80"/>
          <p:cNvSpPr txBox="1"/>
          <p:nvPr/>
        </p:nvSpPr>
        <p:spPr>
          <a:xfrm>
            <a:off x="819914" y="6522256"/>
            <a:ext cx="1655890" cy="65695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MOTE AND CENTRALIZED DATA VISUALIZATION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112" name="直接连接符 111"/>
          <p:cNvCxnSpPr/>
          <p:nvPr/>
        </p:nvCxnSpPr>
        <p:spPr>
          <a:xfrm>
            <a:off x="4955129" y="3473635"/>
            <a:ext cx="4292553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椭圆 112"/>
          <p:cNvSpPr/>
          <p:nvPr/>
        </p:nvSpPr>
        <p:spPr>
          <a:xfrm>
            <a:off x="9176462" y="3354365"/>
            <a:ext cx="238540" cy="23854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4" name="TextBox 58"/>
          <p:cNvSpPr txBox="1"/>
          <p:nvPr/>
        </p:nvSpPr>
        <p:spPr>
          <a:xfrm>
            <a:off x="5332135" y="3092907"/>
            <a:ext cx="4492133" cy="3385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achine-based algorithms and data analysis</a:t>
            </a:r>
            <a:endParaRPr lang="en-US" sz="1600" dirty="0">
              <a:solidFill>
                <a:schemeClr val="bg1"/>
              </a:solidFill>
            </a:endParaRPr>
          </a:p>
        </p:txBody>
      </p:sp>
      <p:grpSp>
        <p:nvGrpSpPr>
          <p:cNvPr id="56" name="组合 55"/>
          <p:cNvGrpSpPr/>
          <p:nvPr/>
        </p:nvGrpSpPr>
        <p:grpSpPr>
          <a:xfrm flipH="1">
            <a:off x="1568692" y="1873016"/>
            <a:ext cx="3495809" cy="3157373"/>
            <a:chOff x="7232766" y="2054299"/>
            <a:chExt cx="3495809" cy="3157373"/>
          </a:xfrm>
        </p:grpSpPr>
        <p:sp>
          <p:nvSpPr>
            <p:cNvPr id="48" name="椭圆 47"/>
            <p:cNvSpPr/>
            <p:nvPr/>
          </p:nvSpPr>
          <p:spPr>
            <a:xfrm>
              <a:off x="7816829" y="2054299"/>
              <a:ext cx="1439020" cy="1439020"/>
            </a:xfrm>
            <a:prstGeom prst="ellipse">
              <a:avLst/>
            </a:prstGeom>
            <a:solidFill>
              <a:srgbClr val="E9F2DF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8" name="椭圆 97"/>
            <p:cNvSpPr/>
            <p:nvPr/>
          </p:nvSpPr>
          <p:spPr>
            <a:xfrm>
              <a:off x="9289555" y="2955105"/>
              <a:ext cx="1439020" cy="1439020"/>
            </a:xfrm>
            <a:prstGeom prst="ellipse">
              <a:avLst/>
            </a:prstGeom>
            <a:solidFill>
              <a:srgbClr val="EEFDFD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椭圆 98"/>
            <p:cNvSpPr/>
            <p:nvPr/>
          </p:nvSpPr>
          <p:spPr>
            <a:xfrm>
              <a:off x="7928261" y="3772652"/>
              <a:ext cx="1439020" cy="1439020"/>
            </a:xfrm>
            <a:prstGeom prst="ellipse">
              <a:avLst/>
            </a:prstGeom>
            <a:solidFill>
              <a:srgbClr val="F3F3F3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椭圆 99"/>
            <p:cNvSpPr/>
            <p:nvPr/>
          </p:nvSpPr>
          <p:spPr>
            <a:xfrm>
              <a:off x="7232766" y="3260098"/>
              <a:ext cx="748093" cy="748093"/>
            </a:xfrm>
            <a:prstGeom prst="ellipse">
              <a:avLst/>
            </a:prstGeom>
            <a:solidFill>
              <a:srgbClr val="FFF7C7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椭圆 100"/>
            <p:cNvSpPr/>
            <p:nvPr/>
          </p:nvSpPr>
          <p:spPr>
            <a:xfrm>
              <a:off x="9419502" y="4504730"/>
              <a:ext cx="431663" cy="431663"/>
            </a:xfrm>
            <a:prstGeom prst="ellipse">
              <a:avLst/>
            </a:prstGeom>
            <a:solidFill>
              <a:srgbClr val="F2F9F9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椭圆 103"/>
            <p:cNvSpPr/>
            <p:nvPr/>
          </p:nvSpPr>
          <p:spPr>
            <a:xfrm>
              <a:off x="9403512" y="2333002"/>
              <a:ext cx="431663" cy="431663"/>
            </a:xfrm>
            <a:prstGeom prst="ellipse">
              <a:avLst/>
            </a:prstGeom>
            <a:solidFill>
              <a:srgbClr val="F8F7E0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843" name="矩形 3842"/>
          <p:cNvSpPr/>
          <p:nvPr/>
        </p:nvSpPr>
        <p:spPr>
          <a:xfrm>
            <a:off x="5356643" y="3523113"/>
            <a:ext cx="6096000" cy="177484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Each device is a connected device</a:t>
            </a:r>
            <a:endParaRPr lang="en-US" altLang="zh-CN" sz="1600" dirty="0" smtClean="0">
              <a:solidFill>
                <a:schemeClr val="bg1"/>
              </a:solidFill>
            </a:endParaRP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Each device is a cache - device loss/recreation is a non-event</a:t>
            </a:r>
            <a:endParaRPr lang="en-US" altLang="zh-CN" sz="1600" dirty="0" smtClean="0">
              <a:solidFill>
                <a:schemeClr val="bg1"/>
              </a:solidFill>
            </a:endParaRP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Device state (apps &amp; users) is stored in a cloud (default is SkyDrive)</a:t>
            </a:r>
            <a:endParaRPr lang="en-US" altLang="zh-CN" sz="1600" dirty="0" smtClean="0">
              <a:solidFill>
                <a:schemeClr val="bg1"/>
              </a:solidFill>
            </a:endParaRP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App &amp; User state is transparently accessible from any device</a:t>
            </a:r>
            <a:endParaRPr lang="en-US" altLang="zh-CN" sz="1600" dirty="0" smtClean="0">
              <a:solidFill>
                <a:schemeClr val="bg1"/>
              </a:solidFill>
            </a:endParaRP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 smtClean="0">
                <a:solidFill>
                  <a:schemeClr val="bg1"/>
                </a:solidFill>
              </a:rPr>
              <a:t>A device does not have to have a user interface or even users (sensors, etc.)</a:t>
            </a:r>
            <a:endParaRPr lang="en-US" altLang="zh-CN" sz="1600" dirty="0">
              <a:solidFill>
                <a:schemeClr val="bg1"/>
              </a:solidFill>
            </a:endParaRPr>
          </a:p>
        </p:txBody>
      </p:sp>
      <p:pic>
        <p:nvPicPr>
          <p:cNvPr id="3844" name="图片 38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6960" y="2115875"/>
            <a:ext cx="901236" cy="901236"/>
          </a:xfrm>
          <a:prstGeom prst="rect">
            <a:avLst/>
          </a:prstGeom>
        </p:spPr>
      </p:pic>
      <p:pic>
        <p:nvPicPr>
          <p:cNvPr id="3845" name="图片 384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8290" y="3817452"/>
            <a:ext cx="984465" cy="984465"/>
          </a:xfrm>
          <a:prstGeom prst="rect">
            <a:avLst/>
          </a:prstGeom>
        </p:spPr>
      </p:pic>
      <p:pic>
        <p:nvPicPr>
          <p:cNvPr id="3846" name="图片 3845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462" y="3033792"/>
            <a:ext cx="914469" cy="914469"/>
          </a:xfrm>
          <a:prstGeom prst="rect">
            <a:avLst/>
          </a:prstGeom>
        </p:spPr>
      </p:pic>
      <p:pic>
        <p:nvPicPr>
          <p:cNvPr id="3847" name="图片 3846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7915" y="3193757"/>
            <a:ext cx="499159" cy="499159"/>
          </a:xfrm>
          <a:prstGeom prst="rect">
            <a:avLst/>
          </a:prstGeom>
        </p:spPr>
      </p:pic>
      <p:pic>
        <p:nvPicPr>
          <p:cNvPr id="3848" name="图片 3847"/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8548" y="2226533"/>
            <a:ext cx="286828" cy="286828"/>
          </a:xfrm>
          <a:prstGeom prst="rect">
            <a:avLst/>
          </a:prstGeom>
        </p:spPr>
      </p:pic>
      <p:pic>
        <p:nvPicPr>
          <p:cNvPr id="3849" name="图片 384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0153" y="4388249"/>
            <a:ext cx="315223" cy="315223"/>
          </a:xfrm>
          <a:prstGeom prst="rect">
            <a:avLst/>
          </a:prstGeom>
        </p:spPr>
      </p:pic>
      <p:grpSp>
        <p:nvGrpSpPr>
          <p:cNvPr id="142" name="组合 141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3" name="组合 142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0" name="矩形 149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1" name="文本框 150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2" name="文本框 151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3" name="直接连接符 152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4" name="椭圆 153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5" name="文本框 154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4" name="组合 143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8" name="六边形 147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9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45" name="组合 144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6" name="六边形 145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7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5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765920" y="1807628"/>
            <a:ext cx="3027428" cy="4128455"/>
            <a:chOff x="647529" y="1264920"/>
            <a:chExt cx="3497751" cy="4769827"/>
          </a:xfrm>
        </p:grpSpPr>
        <p:sp>
          <p:nvSpPr>
            <p:cNvPr id="7" name="矩形 6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104" name="矩形 103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2" name="等腰三角形 111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141" name="Group 2"/>
          <p:cNvGrpSpPr/>
          <p:nvPr/>
        </p:nvGrpSpPr>
        <p:grpSpPr>
          <a:xfrm flipH="1">
            <a:off x="1244180" y="2911860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142" name="Oval 9"/>
            <p:cNvSpPr>
              <a:spLocks noChangeAspect="1" noChangeArrowheads="1"/>
            </p:cNvSpPr>
            <p:nvPr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" name="Oval 10"/>
            <p:cNvSpPr>
              <a:spLocks noChangeAspect="1" noChangeArrowheads="1"/>
            </p:cNvSpPr>
            <p:nvPr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" name="Oval 11"/>
            <p:cNvSpPr>
              <a:spLocks noChangeAspect="1" noChangeArrowheads="1"/>
            </p:cNvSpPr>
            <p:nvPr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" name="Oval 12"/>
            <p:cNvSpPr>
              <a:spLocks noChangeAspect="1" noChangeArrowheads="1"/>
            </p:cNvSpPr>
            <p:nvPr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" name="Oval 13"/>
            <p:cNvSpPr>
              <a:spLocks noChangeAspect="1" noChangeArrowheads="1"/>
            </p:cNvSpPr>
            <p:nvPr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" name="Oval 14"/>
            <p:cNvSpPr>
              <a:spLocks noChangeAspect="1" noChangeArrowheads="1"/>
            </p:cNvSpPr>
            <p:nvPr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" name="Oval 15"/>
            <p:cNvSpPr>
              <a:spLocks noChangeAspect="1" noChangeArrowheads="1"/>
            </p:cNvSpPr>
            <p:nvPr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" name="Oval 16"/>
            <p:cNvSpPr>
              <a:spLocks noChangeAspect="1" noChangeArrowheads="1"/>
            </p:cNvSpPr>
            <p:nvPr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" name="Oval 17"/>
            <p:cNvSpPr>
              <a:spLocks noChangeAspect="1" noChangeArrowheads="1"/>
            </p:cNvSpPr>
            <p:nvPr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" name="Oval 18"/>
            <p:cNvSpPr>
              <a:spLocks noChangeAspect="1" noChangeArrowheads="1"/>
            </p:cNvSpPr>
            <p:nvPr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" name="Oval 19"/>
            <p:cNvSpPr>
              <a:spLocks noChangeAspect="1" noChangeArrowheads="1"/>
            </p:cNvSpPr>
            <p:nvPr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" name="Oval 20"/>
            <p:cNvSpPr>
              <a:spLocks noChangeAspect="1" noChangeArrowheads="1"/>
            </p:cNvSpPr>
            <p:nvPr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" name="Oval 21"/>
            <p:cNvSpPr>
              <a:spLocks noChangeAspect="1" noChangeArrowheads="1"/>
            </p:cNvSpPr>
            <p:nvPr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" name="Oval 22"/>
            <p:cNvSpPr>
              <a:spLocks noChangeAspect="1" noChangeArrowheads="1"/>
            </p:cNvSpPr>
            <p:nvPr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" name="Oval 23"/>
            <p:cNvSpPr>
              <a:spLocks noChangeAspect="1" noChangeArrowheads="1"/>
            </p:cNvSpPr>
            <p:nvPr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" name="Oval 24"/>
            <p:cNvSpPr>
              <a:spLocks noChangeAspect="1" noChangeArrowheads="1"/>
            </p:cNvSpPr>
            <p:nvPr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" name="Oval 25"/>
            <p:cNvSpPr>
              <a:spLocks noChangeAspect="1" noChangeArrowheads="1"/>
            </p:cNvSpPr>
            <p:nvPr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" name="Oval 26"/>
            <p:cNvSpPr>
              <a:spLocks noChangeAspect="1" noChangeArrowheads="1"/>
            </p:cNvSpPr>
            <p:nvPr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" name="Oval 27"/>
            <p:cNvSpPr>
              <a:spLocks noChangeAspect="1" noChangeArrowheads="1"/>
            </p:cNvSpPr>
            <p:nvPr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" name="Oval 28"/>
            <p:cNvSpPr>
              <a:spLocks noChangeAspect="1" noChangeArrowheads="1"/>
            </p:cNvSpPr>
            <p:nvPr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" name="Oval 29"/>
            <p:cNvSpPr>
              <a:spLocks noChangeAspect="1" noChangeArrowheads="1"/>
            </p:cNvSpPr>
            <p:nvPr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" name="Oval 30"/>
            <p:cNvSpPr>
              <a:spLocks noChangeAspect="1" noChangeArrowheads="1"/>
            </p:cNvSpPr>
            <p:nvPr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" name="Oval 31"/>
            <p:cNvSpPr>
              <a:spLocks noChangeAspect="1" noChangeArrowheads="1"/>
            </p:cNvSpPr>
            <p:nvPr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" name="Oval 32"/>
            <p:cNvSpPr>
              <a:spLocks noChangeAspect="1" noChangeArrowheads="1"/>
            </p:cNvSpPr>
            <p:nvPr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" name="Oval 33"/>
            <p:cNvSpPr>
              <a:spLocks noChangeAspect="1" noChangeArrowheads="1"/>
            </p:cNvSpPr>
            <p:nvPr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" name="Oval 34"/>
            <p:cNvSpPr>
              <a:spLocks noChangeAspect="1" noChangeArrowheads="1"/>
            </p:cNvSpPr>
            <p:nvPr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" name="Oval 35"/>
            <p:cNvSpPr>
              <a:spLocks noChangeAspect="1" noChangeArrowheads="1"/>
            </p:cNvSpPr>
            <p:nvPr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" name="Oval 36"/>
            <p:cNvSpPr>
              <a:spLocks noChangeAspect="1" noChangeArrowheads="1"/>
            </p:cNvSpPr>
            <p:nvPr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" name="Oval 37"/>
            <p:cNvSpPr>
              <a:spLocks noChangeAspect="1" noChangeArrowheads="1"/>
            </p:cNvSpPr>
            <p:nvPr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" name="Oval 38"/>
            <p:cNvSpPr>
              <a:spLocks noChangeAspect="1" noChangeArrowheads="1"/>
            </p:cNvSpPr>
            <p:nvPr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" name="Oval 39"/>
            <p:cNvSpPr>
              <a:spLocks noChangeAspect="1" noChangeArrowheads="1"/>
            </p:cNvSpPr>
            <p:nvPr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" name="Oval 40"/>
            <p:cNvSpPr>
              <a:spLocks noChangeAspect="1" noChangeArrowheads="1"/>
            </p:cNvSpPr>
            <p:nvPr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" name="Oval 41"/>
            <p:cNvSpPr>
              <a:spLocks noChangeAspect="1" noChangeArrowheads="1"/>
            </p:cNvSpPr>
            <p:nvPr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" name="Oval 42"/>
            <p:cNvSpPr>
              <a:spLocks noChangeAspect="1" noChangeArrowheads="1"/>
            </p:cNvSpPr>
            <p:nvPr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" name="Oval 43"/>
            <p:cNvSpPr>
              <a:spLocks noChangeAspect="1" noChangeArrowheads="1"/>
            </p:cNvSpPr>
            <p:nvPr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" name="Oval 44"/>
            <p:cNvSpPr>
              <a:spLocks noChangeAspect="1" noChangeArrowheads="1"/>
            </p:cNvSpPr>
            <p:nvPr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" name="Oval 45"/>
            <p:cNvSpPr>
              <a:spLocks noChangeAspect="1" noChangeArrowheads="1"/>
            </p:cNvSpPr>
            <p:nvPr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" name="Oval 46"/>
            <p:cNvSpPr>
              <a:spLocks noChangeAspect="1" noChangeArrowheads="1"/>
            </p:cNvSpPr>
            <p:nvPr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" name="Oval 47"/>
            <p:cNvSpPr>
              <a:spLocks noChangeAspect="1" noChangeArrowheads="1"/>
            </p:cNvSpPr>
            <p:nvPr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" name="Oval 48"/>
            <p:cNvSpPr>
              <a:spLocks noChangeAspect="1" noChangeArrowheads="1"/>
            </p:cNvSpPr>
            <p:nvPr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" name="Oval 49"/>
            <p:cNvSpPr>
              <a:spLocks noChangeAspect="1" noChangeArrowheads="1"/>
            </p:cNvSpPr>
            <p:nvPr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" name="Oval 50"/>
            <p:cNvSpPr>
              <a:spLocks noChangeAspect="1" noChangeArrowheads="1"/>
            </p:cNvSpPr>
            <p:nvPr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" name="Oval 51"/>
            <p:cNvSpPr>
              <a:spLocks noChangeAspect="1" noChangeArrowheads="1"/>
            </p:cNvSpPr>
            <p:nvPr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" name="Oval 52"/>
            <p:cNvSpPr>
              <a:spLocks noChangeAspect="1" noChangeArrowheads="1"/>
            </p:cNvSpPr>
            <p:nvPr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" name="Oval 53"/>
            <p:cNvSpPr>
              <a:spLocks noChangeAspect="1" noChangeArrowheads="1"/>
            </p:cNvSpPr>
            <p:nvPr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" name="Oval 54"/>
            <p:cNvSpPr>
              <a:spLocks noChangeAspect="1" noChangeArrowheads="1"/>
            </p:cNvSpPr>
            <p:nvPr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" name="Oval 55"/>
            <p:cNvSpPr>
              <a:spLocks noChangeAspect="1" noChangeArrowheads="1"/>
            </p:cNvSpPr>
            <p:nvPr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" name="Oval 56"/>
            <p:cNvSpPr>
              <a:spLocks noChangeAspect="1" noChangeArrowheads="1"/>
            </p:cNvSpPr>
            <p:nvPr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" name="Oval 57"/>
            <p:cNvSpPr>
              <a:spLocks noChangeAspect="1" noChangeArrowheads="1"/>
            </p:cNvSpPr>
            <p:nvPr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" name="Oval 58"/>
            <p:cNvSpPr>
              <a:spLocks noChangeAspect="1" noChangeArrowheads="1"/>
            </p:cNvSpPr>
            <p:nvPr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" name="Oval 59"/>
            <p:cNvSpPr>
              <a:spLocks noChangeAspect="1" noChangeArrowheads="1"/>
            </p:cNvSpPr>
            <p:nvPr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" name="Oval 60"/>
            <p:cNvSpPr>
              <a:spLocks noChangeAspect="1" noChangeArrowheads="1"/>
            </p:cNvSpPr>
            <p:nvPr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" name="Oval 61"/>
            <p:cNvSpPr>
              <a:spLocks noChangeAspect="1" noChangeArrowheads="1"/>
            </p:cNvSpPr>
            <p:nvPr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" name="Oval 62"/>
            <p:cNvSpPr>
              <a:spLocks noChangeAspect="1" noChangeArrowheads="1"/>
            </p:cNvSpPr>
            <p:nvPr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" name="Oval 63"/>
            <p:cNvSpPr>
              <a:spLocks noChangeAspect="1" noChangeArrowheads="1"/>
            </p:cNvSpPr>
            <p:nvPr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" name="Oval 64"/>
            <p:cNvSpPr>
              <a:spLocks noChangeAspect="1" noChangeArrowheads="1"/>
            </p:cNvSpPr>
            <p:nvPr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" name="Oval 65"/>
            <p:cNvSpPr>
              <a:spLocks noChangeAspect="1" noChangeArrowheads="1"/>
            </p:cNvSpPr>
            <p:nvPr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" name="Oval 66"/>
            <p:cNvSpPr>
              <a:spLocks noChangeAspect="1" noChangeArrowheads="1"/>
            </p:cNvSpPr>
            <p:nvPr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" name="Oval 67"/>
            <p:cNvSpPr>
              <a:spLocks noChangeAspect="1" noChangeArrowheads="1"/>
            </p:cNvSpPr>
            <p:nvPr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" name="Oval 68"/>
            <p:cNvSpPr>
              <a:spLocks noChangeAspect="1" noChangeArrowheads="1"/>
            </p:cNvSpPr>
            <p:nvPr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" name="Oval 69"/>
            <p:cNvSpPr>
              <a:spLocks noChangeAspect="1" noChangeArrowheads="1"/>
            </p:cNvSpPr>
            <p:nvPr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" name="Oval 70"/>
            <p:cNvSpPr>
              <a:spLocks noChangeAspect="1" noChangeArrowheads="1"/>
            </p:cNvSpPr>
            <p:nvPr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" name="Oval 71"/>
            <p:cNvSpPr>
              <a:spLocks noChangeAspect="1" noChangeArrowheads="1"/>
            </p:cNvSpPr>
            <p:nvPr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" name="Oval 72"/>
            <p:cNvSpPr>
              <a:spLocks noChangeAspect="1" noChangeArrowheads="1"/>
            </p:cNvSpPr>
            <p:nvPr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" name="Oval 73"/>
            <p:cNvSpPr>
              <a:spLocks noChangeAspect="1" noChangeArrowheads="1"/>
            </p:cNvSpPr>
            <p:nvPr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" name="Oval 74"/>
            <p:cNvSpPr>
              <a:spLocks noChangeAspect="1" noChangeArrowheads="1"/>
            </p:cNvSpPr>
            <p:nvPr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" name="Oval 75"/>
            <p:cNvSpPr>
              <a:spLocks noChangeAspect="1" noChangeArrowheads="1"/>
            </p:cNvSpPr>
            <p:nvPr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" name="Oval 76"/>
            <p:cNvSpPr>
              <a:spLocks noChangeAspect="1" noChangeArrowheads="1"/>
            </p:cNvSpPr>
            <p:nvPr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" name="Oval 77"/>
            <p:cNvSpPr>
              <a:spLocks noChangeAspect="1" noChangeArrowheads="1"/>
            </p:cNvSpPr>
            <p:nvPr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" name="Oval 78"/>
            <p:cNvSpPr>
              <a:spLocks noChangeAspect="1" noChangeArrowheads="1"/>
            </p:cNvSpPr>
            <p:nvPr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" name="Oval 79"/>
            <p:cNvSpPr>
              <a:spLocks noChangeAspect="1" noChangeArrowheads="1"/>
            </p:cNvSpPr>
            <p:nvPr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" name="Oval 80"/>
            <p:cNvSpPr>
              <a:spLocks noChangeAspect="1" noChangeArrowheads="1"/>
            </p:cNvSpPr>
            <p:nvPr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" name="Oval 81"/>
            <p:cNvSpPr>
              <a:spLocks noChangeAspect="1" noChangeArrowheads="1"/>
            </p:cNvSpPr>
            <p:nvPr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" name="Oval 82"/>
            <p:cNvSpPr>
              <a:spLocks noChangeAspect="1" noChangeArrowheads="1"/>
            </p:cNvSpPr>
            <p:nvPr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" name="Oval 83"/>
            <p:cNvSpPr>
              <a:spLocks noChangeAspect="1" noChangeArrowheads="1"/>
            </p:cNvSpPr>
            <p:nvPr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" name="Oval 84"/>
            <p:cNvSpPr>
              <a:spLocks noChangeAspect="1" noChangeArrowheads="1"/>
            </p:cNvSpPr>
            <p:nvPr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" name="Oval 85"/>
            <p:cNvSpPr>
              <a:spLocks noChangeAspect="1" noChangeArrowheads="1"/>
            </p:cNvSpPr>
            <p:nvPr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" name="Oval 86"/>
            <p:cNvSpPr>
              <a:spLocks noChangeAspect="1" noChangeArrowheads="1"/>
            </p:cNvSpPr>
            <p:nvPr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" name="Oval 87"/>
            <p:cNvSpPr>
              <a:spLocks noChangeAspect="1" noChangeArrowheads="1"/>
            </p:cNvSpPr>
            <p:nvPr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" name="Oval 88"/>
            <p:cNvSpPr>
              <a:spLocks noChangeAspect="1" noChangeArrowheads="1"/>
            </p:cNvSpPr>
            <p:nvPr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" name="Oval 89"/>
            <p:cNvSpPr>
              <a:spLocks noChangeAspect="1" noChangeArrowheads="1"/>
            </p:cNvSpPr>
            <p:nvPr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" name="Oval 90"/>
            <p:cNvSpPr>
              <a:spLocks noChangeAspect="1" noChangeArrowheads="1"/>
            </p:cNvSpPr>
            <p:nvPr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" name="Oval 91"/>
            <p:cNvSpPr>
              <a:spLocks noChangeAspect="1" noChangeArrowheads="1"/>
            </p:cNvSpPr>
            <p:nvPr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" name="Oval 92"/>
            <p:cNvSpPr>
              <a:spLocks noChangeAspect="1" noChangeArrowheads="1"/>
            </p:cNvSpPr>
            <p:nvPr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" name="Oval 93"/>
            <p:cNvSpPr>
              <a:spLocks noChangeAspect="1" noChangeArrowheads="1"/>
            </p:cNvSpPr>
            <p:nvPr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" name="Oval 94"/>
            <p:cNvSpPr>
              <a:spLocks noChangeAspect="1" noChangeArrowheads="1"/>
            </p:cNvSpPr>
            <p:nvPr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" name="Oval 95"/>
            <p:cNvSpPr>
              <a:spLocks noChangeAspect="1" noChangeArrowheads="1"/>
            </p:cNvSpPr>
            <p:nvPr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" name="Oval 96"/>
            <p:cNvSpPr>
              <a:spLocks noChangeAspect="1" noChangeArrowheads="1"/>
            </p:cNvSpPr>
            <p:nvPr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" name="Oval 97"/>
            <p:cNvSpPr>
              <a:spLocks noChangeAspect="1" noChangeArrowheads="1"/>
            </p:cNvSpPr>
            <p:nvPr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" name="Oval 98"/>
            <p:cNvSpPr>
              <a:spLocks noChangeAspect="1" noChangeArrowheads="1"/>
            </p:cNvSpPr>
            <p:nvPr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" name="Oval 99"/>
            <p:cNvSpPr>
              <a:spLocks noChangeAspect="1" noChangeArrowheads="1"/>
            </p:cNvSpPr>
            <p:nvPr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" name="Oval 100"/>
            <p:cNvSpPr>
              <a:spLocks noChangeAspect="1" noChangeArrowheads="1"/>
            </p:cNvSpPr>
            <p:nvPr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" name="Oval 101"/>
            <p:cNvSpPr>
              <a:spLocks noChangeAspect="1" noChangeArrowheads="1"/>
            </p:cNvSpPr>
            <p:nvPr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" name="Oval 102"/>
            <p:cNvSpPr>
              <a:spLocks noChangeAspect="1" noChangeArrowheads="1"/>
            </p:cNvSpPr>
            <p:nvPr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2" name="Oval 103"/>
            <p:cNvSpPr>
              <a:spLocks noChangeAspect="1" noChangeArrowheads="1"/>
            </p:cNvSpPr>
            <p:nvPr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" name="Oval 104"/>
            <p:cNvSpPr>
              <a:spLocks noChangeAspect="1" noChangeArrowheads="1"/>
            </p:cNvSpPr>
            <p:nvPr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" name="Oval 105"/>
            <p:cNvSpPr>
              <a:spLocks noChangeAspect="1" noChangeArrowheads="1"/>
            </p:cNvSpPr>
            <p:nvPr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" name="Oval 106"/>
            <p:cNvSpPr>
              <a:spLocks noChangeAspect="1" noChangeArrowheads="1"/>
            </p:cNvSpPr>
            <p:nvPr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" name="Oval 107"/>
            <p:cNvSpPr>
              <a:spLocks noChangeAspect="1" noChangeArrowheads="1"/>
            </p:cNvSpPr>
            <p:nvPr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" name="Oval 108"/>
            <p:cNvSpPr>
              <a:spLocks noChangeAspect="1" noChangeArrowheads="1"/>
            </p:cNvSpPr>
            <p:nvPr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" name="Oval 109"/>
            <p:cNvSpPr>
              <a:spLocks noChangeAspect="1" noChangeArrowheads="1"/>
            </p:cNvSpPr>
            <p:nvPr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" name="Oval 110"/>
            <p:cNvSpPr>
              <a:spLocks noChangeAspect="1" noChangeArrowheads="1"/>
            </p:cNvSpPr>
            <p:nvPr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" name="Oval 111"/>
            <p:cNvSpPr>
              <a:spLocks noChangeAspect="1" noChangeArrowheads="1"/>
            </p:cNvSpPr>
            <p:nvPr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" name="Oval 112"/>
            <p:cNvSpPr>
              <a:spLocks noChangeAspect="1" noChangeArrowheads="1"/>
            </p:cNvSpPr>
            <p:nvPr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" name="Oval 113"/>
            <p:cNvSpPr>
              <a:spLocks noChangeAspect="1" noChangeArrowheads="1"/>
            </p:cNvSpPr>
            <p:nvPr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" name="Oval 114"/>
            <p:cNvSpPr>
              <a:spLocks noChangeAspect="1" noChangeArrowheads="1"/>
            </p:cNvSpPr>
            <p:nvPr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" name="Oval 115"/>
            <p:cNvSpPr>
              <a:spLocks noChangeAspect="1" noChangeArrowheads="1"/>
            </p:cNvSpPr>
            <p:nvPr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" name="Oval 116"/>
            <p:cNvSpPr>
              <a:spLocks noChangeAspect="1" noChangeArrowheads="1"/>
            </p:cNvSpPr>
            <p:nvPr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" name="Oval 117"/>
            <p:cNvSpPr>
              <a:spLocks noChangeAspect="1" noChangeArrowheads="1"/>
            </p:cNvSpPr>
            <p:nvPr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" name="Oval 118"/>
            <p:cNvSpPr>
              <a:spLocks noChangeAspect="1" noChangeArrowheads="1"/>
            </p:cNvSpPr>
            <p:nvPr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" name="Oval 119"/>
            <p:cNvSpPr>
              <a:spLocks noChangeAspect="1" noChangeArrowheads="1"/>
            </p:cNvSpPr>
            <p:nvPr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" name="Oval 120"/>
            <p:cNvSpPr>
              <a:spLocks noChangeAspect="1" noChangeArrowheads="1"/>
            </p:cNvSpPr>
            <p:nvPr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" name="Oval 121"/>
            <p:cNvSpPr>
              <a:spLocks noChangeAspect="1" noChangeArrowheads="1"/>
            </p:cNvSpPr>
            <p:nvPr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" name="Oval 122"/>
            <p:cNvSpPr>
              <a:spLocks noChangeAspect="1" noChangeArrowheads="1"/>
            </p:cNvSpPr>
            <p:nvPr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" name="Oval 123"/>
            <p:cNvSpPr>
              <a:spLocks noChangeAspect="1" noChangeArrowheads="1"/>
            </p:cNvSpPr>
            <p:nvPr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" name="Oval 124"/>
            <p:cNvSpPr>
              <a:spLocks noChangeAspect="1" noChangeArrowheads="1"/>
            </p:cNvSpPr>
            <p:nvPr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" name="Oval 125"/>
            <p:cNvSpPr>
              <a:spLocks noChangeAspect="1" noChangeArrowheads="1"/>
            </p:cNvSpPr>
            <p:nvPr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" name="Oval 126"/>
            <p:cNvSpPr>
              <a:spLocks noChangeAspect="1" noChangeArrowheads="1"/>
            </p:cNvSpPr>
            <p:nvPr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" name="Oval 127"/>
            <p:cNvSpPr>
              <a:spLocks noChangeAspect="1" noChangeArrowheads="1"/>
            </p:cNvSpPr>
            <p:nvPr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" name="Oval 128"/>
            <p:cNvSpPr>
              <a:spLocks noChangeAspect="1" noChangeArrowheads="1"/>
            </p:cNvSpPr>
            <p:nvPr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" name="Oval 129"/>
            <p:cNvSpPr>
              <a:spLocks noChangeAspect="1" noChangeArrowheads="1"/>
            </p:cNvSpPr>
            <p:nvPr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" name="Oval 130"/>
            <p:cNvSpPr>
              <a:spLocks noChangeAspect="1" noChangeArrowheads="1"/>
            </p:cNvSpPr>
            <p:nvPr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" name="Oval 131"/>
            <p:cNvSpPr>
              <a:spLocks noChangeAspect="1" noChangeArrowheads="1"/>
            </p:cNvSpPr>
            <p:nvPr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" name="Oval 132"/>
            <p:cNvSpPr>
              <a:spLocks noChangeAspect="1" noChangeArrowheads="1"/>
            </p:cNvSpPr>
            <p:nvPr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" name="Oval 133"/>
            <p:cNvSpPr>
              <a:spLocks noChangeAspect="1" noChangeArrowheads="1"/>
            </p:cNvSpPr>
            <p:nvPr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" name="Oval 134"/>
            <p:cNvSpPr>
              <a:spLocks noChangeAspect="1" noChangeArrowheads="1"/>
            </p:cNvSpPr>
            <p:nvPr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" name="Oval 135"/>
            <p:cNvSpPr>
              <a:spLocks noChangeAspect="1" noChangeArrowheads="1"/>
            </p:cNvSpPr>
            <p:nvPr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" name="Oval 136"/>
            <p:cNvSpPr>
              <a:spLocks noChangeAspect="1" noChangeArrowheads="1"/>
            </p:cNvSpPr>
            <p:nvPr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" name="Oval 137"/>
            <p:cNvSpPr>
              <a:spLocks noChangeAspect="1" noChangeArrowheads="1"/>
            </p:cNvSpPr>
            <p:nvPr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" name="Oval 138"/>
            <p:cNvSpPr>
              <a:spLocks noChangeAspect="1" noChangeArrowheads="1"/>
            </p:cNvSpPr>
            <p:nvPr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" name="Oval 139"/>
            <p:cNvSpPr>
              <a:spLocks noChangeAspect="1" noChangeArrowheads="1"/>
            </p:cNvSpPr>
            <p:nvPr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" name="Oval 140"/>
            <p:cNvSpPr>
              <a:spLocks noChangeAspect="1" noChangeArrowheads="1"/>
            </p:cNvSpPr>
            <p:nvPr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" name="Oval 141"/>
            <p:cNvSpPr>
              <a:spLocks noChangeAspect="1" noChangeArrowheads="1"/>
            </p:cNvSpPr>
            <p:nvPr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" name="Oval 142"/>
            <p:cNvSpPr>
              <a:spLocks noChangeAspect="1" noChangeArrowheads="1"/>
            </p:cNvSpPr>
            <p:nvPr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" name="Oval 143"/>
            <p:cNvSpPr>
              <a:spLocks noChangeAspect="1" noChangeArrowheads="1"/>
            </p:cNvSpPr>
            <p:nvPr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" name="Oval 144"/>
            <p:cNvSpPr>
              <a:spLocks noChangeAspect="1" noChangeArrowheads="1"/>
            </p:cNvSpPr>
            <p:nvPr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" name="Oval 145"/>
            <p:cNvSpPr>
              <a:spLocks noChangeAspect="1" noChangeArrowheads="1"/>
            </p:cNvSpPr>
            <p:nvPr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" name="Oval 146"/>
            <p:cNvSpPr>
              <a:spLocks noChangeAspect="1" noChangeArrowheads="1"/>
            </p:cNvSpPr>
            <p:nvPr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" name="Oval 147"/>
            <p:cNvSpPr>
              <a:spLocks noChangeAspect="1" noChangeArrowheads="1"/>
            </p:cNvSpPr>
            <p:nvPr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" name="Oval 148"/>
            <p:cNvSpPr>
              <a:spLocks noChangeAspect="1" noChangeArrowheads="1"/>
            </p:cNvSpPr>
            <p:nvPr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" name="Oval 149"/>
            <p:cNvSpPr>
              <a:spLocks noChangeAspect="1" noChangeArrowheads="1"/>
            </p:cNvSpPr>
            <p:nvPr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" name="Oval 150"/>
            <p:cNvSpPr>
              <a:spLocks noChangeAspect="1" noChangeArrowheads="1"/>
            </p:cNvSpPr>
            <p:nvPr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" name="Oval 151"/>
            <p:cNvSpPr>
              <a:spLocks noChangeAspect="1" noChangeArrowheads="1"/>
            </p:cNvSpPr>
            <p:nvPr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" name="Oval 152"/>
            <p:cNvSpPr>
              <a:spLocks noChangeAspect="1" noChangeArrowheads="1"/>
            </p:cNvSpPr>
            <p:nvPr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" name="Oval 153"/>
            <p:cNvSpPr>
              <a:spLocks noChangeAspect="1" noChangeArrowheads="1"/>
            </p:cNvSpPr>
            <p:nvPr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" name="Oval 154"/>
            <p:cNvSpPr>
              <a:spLocks noChangeAspect="1" noChangeArrowheads="1"/>
            </p:cNvSpPr>
            <p:nvPr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" name="Oval 155"/>
            <p:cNvSpPr>
              <a:spLocks noChangeAspect="1" noChangeArrowheads="1"/>
            </p:cNvSpPr>
            <p:nvPr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" name="Oval 156"/>
            <p:cNvSpPr>
              <a:spLocks noChangeAspect="1" noChangeArrowheads="1"/>
            </p:cNvSpPr>
            <p:nvPr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" name="Oval 157"/>
            <p:cNvSpPr>
              <a:spLocks noChangeAspect="1" noChangeArrowheads="1"/>
            </p:cNvSpPr>
            <p:nvPr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" name="Oval 158"/>
            <p:cNvSpPr>
              <a:spLocks noChangeAspect="1" noChangeArrowheads="1"/>
            </p:cNvSpPr>
            <p:nvPr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" name="Oval 159"/>
            <p:cNvSpPr>
              <a:spLocks noChangeAspect="1" noChangeArrowheads="1"/>
            </p:cNvSpPr>
            <p:nvPr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" name="Oval 160"/>
            <p:cNvSpPr>
              <a:spLocks noChangeAspect="1" noChangeArrowheads="1"/>
            </p:cNvSpPr>
            <p:nvPr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" name="Oval 161"/>
            <p:cNvSpPr>
              <a:spLocks noChangeAspect="1" noChangeArrowheads="1"/>
            </p:cNvSpPr>
            <p:nvPr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" name="Oval 162"/>
            <p:cNvSpPr>
              <a:spLocks noChangeAspect="1" noChangeArrowheads="1"/>
            </p:cNvSpPr>
            <p:nvPr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" name="Oval 163"/>
            <p:cNvSpPr>
              <a:spLocks noChangeAspect="1" noChangeArrowheads="1"/>
            </p:cNvSpPr>
            <p:nvPr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" name="Oval 164"/>
            <p:cNvSpPr>
              <a:spLocks noChangeAspect="1" noChangeArrowheads="1"/>
            </p:cNvSpPr>
            <p:nvPr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" name="Oval 165"/>
            <p:cNvSpPr>
              <a:spLocks noChangeAspect="1" noChangeArrowheads="1"/>
            </p:cNvSpPr>
            <p:nvPr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" name="Oval 166"/>
            <p:cNvSpPr>
              <a:spLocks noChangeAspect="1" noChangeArrowheads="1"/>
            </p:cNvSpPr>
            <p:nvPr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" name="Oval 167"/>
            <p:cNvSpPr>
              <a:spLocks noChangeAspect="1" noChangeArrowheads="1"/>
            </p:cNvSpPr>
            <p:nvPr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" name="Oval 168"/>
            <p:cNvSpPr>
              <a:spLocks noChangeAspect="1" noChangeArrowheads="1"/>
            </p:cNvSpPr>
            <p:nvPr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" name="Oval 169"/>
            <p:cNvSpPr>
              <a:spLocks noChangeAspect="1" noChangeArrowheads="1"/>
            </p:cNvSpPr>
            <p:nvPr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" name="Oval 170"/>
            <p:cNvSpPr>
              <a:spLocks noChangeAspect="1" noChangeArrowheads="1"/>
            </p:cNvSpPr>
            <p:nvPr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" name="Oval 171"/>
            <p:cNvSpPr>
              <a:spLocks noChangeAspect="1" noChangeArrowheads="1"/>
            </p:cNvSpPr>
            <p:nvPr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" name="Oval 172"/>
            <p:cNvSpPr>
              <a:spLocks noChangeAspect="1" noChangeArrowheads="1"/>
            </p:cNvSpPr>
            <p:nvPr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" name="Oval 173"/>
            <p:cNvSpPr>
              <a:spLocks noChangeAspect="1" noChangeArrowheads="1"/>
            </p:cNvSpPr>
            <p:nvPr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" name="Oval 174"/>
            <p:cNvSpPr>
              <a:spLocks noChangeAspect="1" noChangeArrowheads="1"/>
            </p:cNvSpPr>
            <p:nvPr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" name="Oval 175"/>
            <p:cNvSpPr>
              <a:spLocks noChangeAspect="1" noChangeArrowheads="1"/>
            </p:cNvSpPr>
            <p:nvPr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" name="Oval 176"/>
            <p:cNvSpPr>
              <a:spLocks noChangeAspect="1" noChangeArrowheads="1"/>
            </p:cNvSpPr>
            <p:nvPr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" name="Oval 177"/>
            <p:cNvSpPr>
              <a:spLocks noChangeAspect="1" noChangeArrowheads="1"/>
            </p:cNvSpPr>
            <p:nvPr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" name="Oval 178"/>
            <p:cNvSpPr>
              <a:spLocks noChangeAspect="1" noChangeArrowheads="1"/>
            </p:cNvSpPr>
            <p:nvPr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" name="Oval 179"/>
            <p:cNvSpPr>
              <a:spLocks noChangeAspect="1" noChangeArrowheads="1"/>
            </p:cNvSpPr>
            <p:nvPr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" name="Oval 180"/>
            <p:cNvSpPr>
              <a:spLocks noChangeAspect="1" noChangeArrowheads="1"/>
            </p:cNvSpPr>
            <p:nvPr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" name="Oval 181"/>
            <p:cNvSpPr>
              <a:spLocks noChangeAspect="1" noChangeArrowheads="1"/>
            </p:cNvSpPr>
            <p:nvPr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" name="Oval 182"/>
            <p:cNvSpPr>
              <a:spLocks noChangeAspect="1" noChangeArrowheads="1"/>
            </p:cNvSpPr>
            <p:nvPr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" name="Oval 183"/>
            <p:cNvSpPr>
              <a:spLocks noChangeAspect="1" noChangeArrowheads="1"/>
            </p:cNvSpPr>
            <p:nvPr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" name="Oval 184"/>
            <p:cNvSpPr>
              <a:spLocks noChangeAspect="1" noChangeArrowheads="1"/>
            </p:cNvSpPr>
            <p:nvPr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" name="Oval 185"/>
            <p:cNvSpPr>
              <a:spLocks noChangeAspect="1" noChangeArrowheads="1"/>
            </p:cNvSpPr>
            <p:nvPr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" name="Oval 186"/>
            <p:cNvSpPr>
              <a:spLocks noChangeAspect="1" noChangeArrowheads="1"/>
            </p:cNvSpPr>
            <p:nvPr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" name="Oval 187"/>
            <p:cNvSpPr>
              <a:spLocks noChangeAspect="1" noChangeArrowheads="1"/>
            </p:cNvSpPr>
            <p:nvPr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" name="Oval 188"/>
            <p:cNvSpPr>
              <a:spLocks noChangeAspect="1" noChangeArrowheads="1"/>
            </p:cNvSpPr>
            <p:nvPr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" name="Oval 189"/>
            <p:cNvSpPr>
              <a:spLocks noChangeAspect="1" noChangeArrowheads="1"/>
            </p:cNvSpPr>
            <p:nvPr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" name="Oval 190"/>
            <p:cNvSpPr>
              <a:spLocks noChangeAspect="1" noChangeArrowheads="1"/>
            </p:cNvSpPr>
            <p:nvPr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" name="Oval 191"/>
            <p:cNvSpPr>
              <a:spLocks noChangeAspect="1" noChangeArrowheads="1"/>
            </p:cNvSpPr>
            <p:nvPr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" name="Oval 192"/>
            <p:cNvSpPr>
              <a:spLocks noChangeAspect="1" noChangeArrowheads="1"/>
            </p:cNvSpPr>
            <p:nvPr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" name="Oval 193"/>
            <p:cNvSpPr>
              <a:spLocks noChangeAspect="1" noChangeArrowheads="1"/>
            </p:cNvSpPr>
            <p:nvPr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" name="Oval 194"/>
            <p:cNvSpPr>
              <a:spLocks noChangeAspect="1" noChangeArrowheads="1"/>
            </p:cNvSpPr>
            <p:nvPr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" name="Oval 195"/>
            <p:cNvSpPr>
              <a:spLocks noChangeAspect="1" noChangeArrowheads="1"/>
            </p:cNvSpPr>
            <p:nvPr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" name="Oval 196"/>
            <p:cNvSpPr>
              <a:spLocks noChangeAspect="1" noChangeArrowheads="1"/>
            </p:cNvSpPr>
            <p:nvPr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" name="Oval 197"/>
            <p:cNvSpPr>
              <a:spLocks noChangeAspect="1" noChangeArrowheads="1"/>
            </p:cNvSpPr>
            <p:nvPr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" name="Oval 198"/>
            <p:cNvSpPr>
              <a:spLocks noChangeAspect="1" noChangeArrowheads="1"/>
            </p:cNvSpPr>
            <p:nvPr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" name="Oval 199"/>
            <p:cNvSpPr>
              <a:spLocks noChangeAspect="1" noChangeArrowheads="1"/>
            </p:cNvSpPr>
            <p:nvPr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" name="Oval 200"/>
            <p:cNvSpPr>
              <a:spLocks noChangeAspect="1" noChangeArrowheads="1"/>
            </p:cNvSpPr>
            <p:nvPr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" name="Oval 201"/>
            <p:cNvSpPr>
              <a:spLocks noChangeAspect="1" noChangeArrowheads="1"/>
            </p:cNvSpPr>
            <p:nvPr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" name="Oval 202"/>
            <p:cNvSpPr>
              <a:spLocks noChangeAspect="1" noChangeArrowheads="1"/>
            </p:cNvSpPr>
            <p:nvPr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" name="Oval 203"/>
            <p:cNvSpPr>
              <a:spLocks noChangeAspect="1" noChangeArrowheads="1"/>
            </p:cNvSpPr>
            <p:nvPr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" name="Oval 204"/>
            <p:cNvSpPr>
              <a:spLocks noChangeAspect="1" noChangeArrowheads="1"/>
            </p:cNvSpPr>
            <p:nvPr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" name="Oval 205"/>
            <p:cNvSpPr>
              <a:spLocks noChangeAspect="1" noChangeArrowheads="1"/>
            </p:cNvSpPr>
            <p:nvPr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" name="Oval 206"/>
            <p:cNvSpPr>
              <a:spLocks noChangeAspect="1" noChangeArrowheads="1"/>
            </p:cNvSpPr>
            <p:nvPr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" name="Oval 207"/>
            <p:cNvSpPr>
              <a:spLocks noChangeAspect="1" noChangeArrowheads="1"/>
            </p:cNvSpPr>
            <p:nvPr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" name="Oval 208"/>
            <p:cNvSpPr>
              <a:spLocks noChangeAspect="1" noChangeArrowheads="1"/>
            </p:cNvSpPr>
            <p:nvPr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" name="Oval 209"/>
            <p:cNvSpPr>
              <a:spLocks noChangeAspect="1" noChangeArrowheads="1"/>
            </p:cNvSpPr>
            <p:nvPr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" name="Oval 210"/>
            <p:cNvSpPr>
              <a:spLocks noChangeAspect="1" noChangeArrowheads="1"/>
            </p:cNvSpPr>
            <p:nvPr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" name="Oval 211"/>
            <p:cNvSpPr>
              <a:spLocks noChangeAspect="1" noChangeArrowheads="1"/>
            </p:cNvSpPr>
            <p:nvPr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" name="Oval 212"/>
            <p:cNvSpPr>
              <a:spLocks noChangeAspect="1" noChangeArrowheads="1"/>
            </p:cNvSpPr>
            <p:nvPr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" name="Oval 213"/>
            <p:cNvSpPr>
              <a:spLocks noChangeAspect="1" noChangeArrowheads="1"/>
            </p:cNvSpPr>
            <p:nvPr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" name="Oval 214"/>
            <p:cNvSpPr>
              <a:spLocks noChangeAspect="1" noChangeArrowheads="1"/>
            </p:cNvSpPr>
            <p:nvPr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" name="Oval 215"/>
            <p:cNvSpPr>
              <a:spLocks noChangeAspect="1" noChangeArrowheads="1"/>
            </p:cNvSpPr>
            <p:nvPr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" name="Oval 216"/>
            <p:cNvSpPr>
              <a:spLocks noChangeAspect="1" noChangeArrowheads="1"/>
            </p:cNvSpPr>
            <p:nvPr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" name="Oval 217"/>
            <p:cNvSpPr>
              <a:spLocks noChangeAspect="1" noChangeArrowheads="1"/>
            </p:cNvSpPr>
            <p:nvPr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" name="Oval 218"/>
            <p:cNvSpPr>
              <a:spLocks noChangeAspect="1" noChangeArrowheads="1"/>
            </p:cNvSpPr>
            <p:nvPr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" name="Oval 219"/>
            <p:cNvSpPr>
              <a:spLocks noChangeAspect="1" noChangeArrowheads="1"/>
            </p:cNvSpPr>
            <p:nvPr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" name="Oval 220"/>
            <p:cNvSpPr>
              <a:spLocks noChangeAspect="1" noChangeArrowheads="1"/>
            </p:cNvSpPr>
            <p:nvPr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" name="Oval 221"/>
            <p:cNvSpPr>
              <a:spLocks noChangeAspect="1" noChangeArrowheads="1"/>
            </p:cNvSpPr>
            <p:nvPr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" name="Oval 222"/>
            <p:cNvSpPr>
              <a:spLocks noChangeAspect="1" noChangeArrowheads="1"/>
            </p:cNvSpPr>
            <p:nvPr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" name="Oval 223"/>
            <p:cNvSpPr>
              <a:spLocks noChangeAspect="1" noChangeArrowheads="1"/>
            </p:cNvSpPr>
            <p:nvPr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" name="Oval 224"/>
            <p:cNvSpPr>
              <a:spLocks noChangeAspect="1" noChangeArrowheads="1"/>
            </p:cNvSpPr>
            <p:nvPr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" name="Oval 225"/>
            <p:cNvSpPr>
              <a:spLocks noChangeAspect="1" noChangeArrowheads="1"/>
            </p:cNvSpPr>
            <p:nvPr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" name="Oval 226"/>
            <p:cNvSpPr>
              <a:spLocks noChangeAspect="1" noChangeArrowheads="1"/>
            </p:cNvSpPr>
            <p:nvPr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6" name="Oval 227"/>
            <p:cNvSpPr>
              <a:spLocks noChangeAspect="1" noChangeArrowheads="1"/>
            </p:cNvSpPr>
            <p:nvPr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7" name="Oval 228"/>
            <p:cNvSpPr>
              <a:spLocks noChangeAspect="1" noChangeArrowheads="1"/>
            </p:cNvSpPr>
            <p:nvPr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8" name="Oval 229"/>
            <p:cNvSpPr>
              <a:spLocks noChangeAspect="1" noChangeArrowheads="1"/>
            </p:cNvSpPr>
            <p:nvPr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9" name="Oval 230"/>
            <p:cNvSpPr>
              <a:spLocks noChangeAspect="1" noChangeArrowheads="1"/>
            </p:cNvSpPr>
            <p:nvPr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0" name="Oval 231"/>
            <p:cNvSpPr>
              <a:spLocks noChangeAspect="1" noChangeArrowheads="1"/>
            </p:cNvSpPr>
            <p:nvPr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1" name="Oval 232"/>
            <p:cNvSpPr>
              <a:spLocks noChangeAspect="1" noChangeArrowheads="1"/>
            </p:cNvSpPr>
            <p:nvPr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2" name="Oval 233"/>
            <p:cNvSpPr>
              <a:spLocks noChangeAspect="1" noChangeArrowheads="1"/>
            </p:cNvSpPr>
            <p:nvPr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3" name="Oval 234"/>
            <p:cNvSpPr>
              <a:spLocks noChangeAspect="1" noChangeArrowheads="1"/>
            </p:cNvSpPr>
            <p:nvPr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4" name="Oval 235"/>
            <p:cNvSpPr>
              <a:spLocks noChangeAspect="1" noChangeArrowheads="1"/>
            </p:cNvSpPr>
            <p:nvPr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5" name="Oval 236"/>
            <p:cNvSpPr>
              <a:spLocks noChangeAspect="1" noChangeArrowheads="1"/>
            </p:cNvSpPr>
            <p:nvPr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6" name="Oval 237"/>
            <p:cNvSpPr>
              <a:spLocks noChangeAspect="1" noChangeArrowheads="1"/>
            </p:cNvSpPr>
            <p:nvPr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7" name="Oval 238"/>
            <p:cNvSpPr>
              <a:spLocks noChangeAspect="1" noChangeArrowheads="1"/>
            </p:cNvSpPr>
            <p:nvPr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8" name="Oval 239"/>
            <p:cNvSpPr>
              <a:spLocks noChangeAspect="1" noChangeArrowheads="1"/>
            </p:cNvSpPr>
            <p:nvPr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9" name="Oval 240"/>
            <p:cNvSpPr>
              <a:spLocks noChangeAspect="1" noChangeArrowheads="1"/>
            </p:cNvSpPr>
            <p:nvPr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0" name="Oval 241"/>
            <p:cNvSpPr>
              <a:spLocks noChangeAspect="1" noChangeArrowheads="1"/>
            </p:cNvSpPr>
            <p:nvPr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1" name="Oval 242"/>
            <p:cNvSpPr>
              <a:spLocks noChangeAspect="1" noChangeArrowheads="1"/>
            </p:cNvSpPr>
            <p:nvPr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2" name="Oval 243"/>
            <p:cNvSpPr>
              <a:spLocks noChangeAspect="1" noChangeArrowheads="1"/>
            </p:cNvSpPr>
            <p:nvPr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3" name="Oval 244"/>
            <p:cNvSpPr>
              <a:spLocks noChangeAspect="1" noChangeArrowheads="1"/>
            </p:cNvSpPr>
            <p:nvPr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4" name="Oval 245"/>
            <p:cNvSpPr>
              <a:spLocks noChangeAspect="1" noChangeArrowheads="1"/>
            </p:cNvSpPr>
            <p:nvPr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5" name="Oval 246"/>
            <p:cNvSpPr>
              <a:spLocks noChangeAspect="1" noChangeArrowheads="1"/>
            </p:cNvSpPr>
            <p:nvPr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6" name="Oval 247"/>
            <p:cNvSpPr>
              <a:spLocks noChangeAspect="1" noChangeArrowheads="1"/>
            </p:cNvSpPr>
            <p:nvPr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7" name="Oval 248"/>
            <p:cNvSpPr>
              <a:spLocks noChangeAspect="1" noChangeArrowheads="1"/>
            </p:cNvSpPr>
            <p:nvPr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8" name="Oval 249"/>
            <p:cNvSpPr>
              <a:spLocks noChangeAspect="1" noChangeArrowheads="1"/>
            </p:cNvSpPr>
            <p:nvPr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9" name="Oval 250"/>
            <p:cNvSpPr>
              <a:spLocks noChangeAspect="1" noChangeArrowheads="1"/>
            </p:cNvSpPr>
            <p:nvPr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0" name="Oval 251"/>
            <p:cNvSpPr>
              <a:spLocks noChangeAspect="1" noChangeArrowheads="1"/>
            </p:cNvSpPr>
            <p:nvPr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1" name="Oval 252"/>
            <p:cNvSpPr>
              <a:spLocks noChangeAspect="1" noChangeArrowheads="1"/>
            </p:cNvSpPr>
            <p:nvPr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2" name="Oval 253"/>
            <p:cNvSpPr>
              <a:spLocks noChangeAspect="1" noChangeArrowheads="1"/>
            </p:cNvSpPr>
            <p:nvPr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3" name="Oval 254"/>
            <p:cNvSpPr>
              <a:spLocks noChangeAspect="1" noChangeArrowheads="1"/>
            </p:cNvSpPr>
            <p:nvPr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4" name="Oval 255"/>
            <p:cNvSpPr>
              <a:spLocks noChangeAspect="1" noChangeArrowheads="1"/>
            </p:cNvSpPr>
            <p:nvPr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5" name="Oval 256"/>
            <p:cNvSpPr>
              <a:spLocks noChangeAspect="1" noChangeArrowheads="1"/>
            </p:cNvSpPr>
            <p:nvPr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6" name="Oval 257"/>
            <p:cNvSpPr>
              <a:spLocks noChangeAspect="1" noChangeArrowheads="1"/>
            </p:cNvSpPr>
            <p:nvPr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7" name="Oval 258"/>
            <p:cNvSpPr>
              <a:spLocks noChangeAspect="1" noChangeArrowheads="1"/>
            </p:cNvSpPr>
            <p:nvPr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8" name="Oval 259"/>
            <p:cNvSpPr>
              <a:spLocks noChangeAspect="1" noChangeArrowheads="1"/>
            </p:cNvSpPr>
            <p:nvPr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9" name="Oval 260"/>
            <p:cNvSpPr>
              <a:spLocks noChangeAspect="1" noChangeArrowheads="1"/>
            </p:cNvSpPr>
            <p:nvPr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0" name="Oval 261"/>
            <p:cNvSpPr>
              <a:spLocks noChangeAspect="1" noChangeArrowheads="1"/>
            </p:cNvSpPr>
            <p:nvPr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1" name="Oval 262"/>
            <p:cNvSpPr>
              <a:spLocks noChangeAspect="1" noChangeArrowheads="1"/>
            </p:cNvSpPr>
            <p:nvPr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2" name="Oval 263"/>
            <p:cNvSpPr>
              <a:spLocks noChangeAspect="1" noChangeArrowheads="1"/>
            </p:cNvSpPr>
            <p:nvPr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3" name="Oval 264"/>
            <p:cNvSpPr>
              <a:spLocks noChangeAspect="1" noChangeArrowheads="1"/>
            </p:cNvSpPr>
            <p:nvPr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4" name="Oval 265"/>
            <p:cNvSpPr>
              <a:spLocks noChangeAspect="1" noChangeArrowheads="1"/>
            </p:cNvSpPr>
            <p:nvPr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5" name="Oval 266"/>
            <p:cNvSpPr>
              <a:spLocks noChangeAspect="1" noChangeArrowheads="1"/>
            </p:cNvSpPr>
            <p:nvPr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6" name="Oval 267"/>
            <p:cNvSpPr>
              <a:spLocks noChangeAspect="1" noChangeArrowheads="1"/>
            </p:cNvSpPr>
            <p:nvPr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7" name="Oval 268"/>
            <p:cNvSpPr>
              <a:spLocks noChangeAspect="1" noChangeArrowheads="1"/>
            </p:cNvSpPr>
            <p:nvPr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8" name="Oval 269"/>
            <p:cNvSpPr>
              <a:spLocks noChangeAspect="1" noChangeArrowheads="1"/>
            </p:cNvSpPr>
            <p:nvPr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9" name="Oval 270"/>
            <p:cNvSpPr>
              <a:spLocks noChangeAspect="1" noChangeArrowheads="1"/>
            </p:cNvSpPr>
            <p:nvPr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0" name="Oval 271"/>
            <p:cNvSpPr>
              <a:spLocks noChangeAspect="1" noChangeArrowheads="1"/>
            </p:cNvSpPr>
            <p:nvPr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1" name="Oval 272"/>
            <p:cNvSpPr>
              <a:spLocks noChangeAspect="1" noChangeArrowheads="1"/>
            </p:cNvSpPr>
            <p:nvPr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2" name="Oval 273"/>
            <p:cNvSpPr>
              <a:spLocks noChangeAspect="1" noChangeArrowheads="1"/>
            </p:cNvSpPr>
            <p:nvPr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3" name="Oval 274"/>
            <p:cNvSpPr>
              <a:spLocks noChangeAspect="1" noChangeArrowheads="1"/>
            </p:cNvSpPr>
            <p:nvPr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4" name="Oval 275"/>
            <p:cNvSpPr>
              <a:spLocks noChangeAspect="1" noChangeArrowheads="1"/>
            </p:cNvSpPr>
            <p:nvPr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5" name="Oval 276"/>
            <p:cNvSpPr>
              <a:spLocks noChangeAspect="1" noChangeArrowheads="1"/>
            </p:cNvSpPr>
            <p:nvPr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6" name="Oval 277"/>
            <p:cNvSpPr>
              <a:spLocks noChangeAspect="1" noChangeArrowheads="1"/>
            </p:cNvSpPr>
            <p:nvPr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7" name="Oval 278"/>
            <p:cNvSpPr>
              <a:spLocks noChangeAspect="1" noChangeArrowheads="1"/>
            </p:cNvSpPr>
            <p:nvPr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8" name="Oval 279"/>
            <p:cNvSpPr>
              <a:spLocks noChangeAspect="1" noChangeArrowheads="1"/>
            </p:cNvSpPr>
            <p:nvPr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9" name="Oval 280"/>
            <p:cNvSpPr>
              <a:spLocks noChangeAspect="1" noChangeArrowheads="1"/>
            </p:cNvSpPr>
            <p:nvPr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0" name="Oval 281"/>
            <p:cNvSpPr>
              <a:spLocks noChangeAspect="1" noChangeArrowheads="1"/>
            </p:cNvSpPr>
            <p:nvPr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1" name="Oval 282"/>
            <p:cNvSpPr>
              <a:spLocks noChangeAspect="1" noChangeArrowheads="1"/>
            </p:cNvSpPr>
            <p:nvPr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2" name="Oval 283"/>
            <p:cNvSpPr>
              <a:spLocks noChangeAspect="1" noChangeArrowheads="1"/>
            </p:cNvSpPr>
            <p:nvPr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3" name="Oval 284"/>
            <p:cNvSpPr>
              <a:spLocks noChangeAspect="1" noChangeArrowheads="1"/>
            </p:cNvSpPr>
            <p:nvPr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4" name="Oval 285"/>
            <p:cNvSpPr>
              <a:spLocks noChangeAspect="1" noChangeArrowheads="1"/>
            </p:cNvSpPr>
            <p:nvPr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5" name="Oval 286"/>
            <p:cNvSpPr>
              <a:spLocks noChangeAspect="1" noChangeArrowheads="1"/>
            </p:cNvSpPr>
            <p:nvPr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6" name="Oval 287"/>
            <p:cNvSpPr>
              <a:spLocks noChangeAspect="1" noChangeArrowheads="1"/>
            </p:cNvSpPr>
            <p:nvPr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7" name="Oval 288"/>
            <p:cNvSpPr>
              <a:spLocks noChangeAspect="1" noChangeArrowheads="1"/>
            </p:cNvSpPr>
            <p:nvPr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8" name="Oval 289"/>
            <p:cNvSpPr>
              <a:spLocks noChangeAspect="1" noChangeArrowheads="1"/>
            </p:cNvSpPr>
            <p:nvPr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9" name="Oval 290"/>
            <p:cNvSpPr>
              <a:spLocks noChangeAspect="1" noChangeArrowheads="1"/>
            </p:cNvSpPr>
            <p:nvPr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0" name="Oval 291"/>
            <p:cNvSpPr>
              <a:spLocks noChangeAspect="1" noChangeArrowheads="1"/>
            </p:cNvSpPr>
            <p:nvPr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1" name="Oval 292"/>
            <p:cNvSpPr>
              <a:spLocks noChangeAspect="1" noChangeArrowheads="1"/>
            </p:cNvSpPr>
            <p:nvPr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2" name="Oval 293"/>
            <p:cNvSpPr>
              <a:spLocks noChangeAspect="1" noChangeArrowheads="1"/>
            </p:cNvSpPr>
            <p:nvPr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3" name="Oval 294"/>
            <p:cNvSpPr>
              <a:spLocks noChangeAspect="1" noChangeArrowheads="1"/>
            </p:cNvSpPr>
            <p:nvPr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4" name="Oval 295"/>
            <p:cNvSpPr>
              <a:spLocks noChangeAspect="1" noChangeArrowheads="1"/>
            </p:cNvSpPr>
            <p:nvPr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5" name="Oval 296"/>
            <p:cNvSpPr>
              <a:spLocks noChangeAspect="1" noChangeArrowheads="1"/>
            </p:cNvSpPr>
            <p:nvPr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6" name="Oval 297"/>
            <p:cNvSpPr>
              <a:spLocks noChangeAspect="1" noChangeArrowheads="1"/>
            </p:cNvSpPr>
            <p:nvPr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7" name="Oval 298"/>
            <p:cNvSpPr>
              <a:spLocks noChangeAspect="1" noChangeArrowheads="1"/>
            </p:cNvSpPr>
            <p:nvPr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8" name="Oval 299"/>
            <p:cNvSpPr>
              <a:spLocks noChangeAspect="1" noChangeArrowheads="1"/>
            </p:cNvSpPr>
            <p:nvPr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9" name="Oval 300"/>
            <p:cNvSpPr>
              <a:spLocks noChangeAspect="1" noChangeArrowheads="1"/>
            </p:cNvSpPr>
            <p:nvPr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0" name="Oval 301"/>
            <p:cNvSpPr>
              <a:spLocks noChangeAspect="1" noChangeArrowheads="1"/>
            </p:cNvSpPr>
            <p:nvPr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1" name="Oval 302"/>
            <p:cNvSpPr>
              <a:spLocks noChangeAspect="1" noChangeArrowheads="1"/>
            </p:cNvSpPr>
            <p:nvPr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2" name="Oval 303"/>
            <p:cNvSpPr>
              <a:spLocks noChangeAspect="1" noChangeArrowheads="1"/>
            </p:cNvSpPr>
            <p:nvPr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3" name="Oval 304"/>
            <p:cNvSpPr>
              <a:spLocks noChangeAspect="1" noChangeArrowheads="1"/>
            </p:cNvSpPr>
            <p:nvPr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4" name="Oval 305"/>
            <p:cNvSpPr>
              <a:spLocks noChangeAspect="1" noChangeArrowheads="1"/>
            </p:cNvSpPr>
            <p:nvPr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5" name="Oval 306"/>
            <p:cNvSpPr>
              <a:spLocks noChangeAspect="1" noChangeArrowheads="1"/>
            </p:cNvSpPr>
            <p:nvPr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6" name="Oval 307"/>
            <p:cNvSpPr>
              <a:spLocks noChangeAspect="1" noChangeArrowheads="1"/>
            </p:cNvSpPr>
            <p:nvPr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7" name="Oval 308"/>
            <p:cNvSpPr>
              <a:spLocks noChangeAspect="1" noChangeArrowheads="1"/>
            </p:cNvSpPr>
            <p:nvPr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8" name="Oval 309"/>
            <p:cNvSpPr>
              <a:spLocks noChangeAspect="1" noChangeArrowheads="1"/>
            </p:cNvSpPr>
            <p:nvPr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9" name="Oval 310"/>
            <p:cNvSpPr>
              <a:spLocks noChangeAspect="1" noChangeArrowheads="1"/>
            </p:cNvSpPr>
            <p:nvPr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0" name="Oval 311"/>
            <p:cNvSpPr>
              <a:spLocks noChangeAspect="1" noChangeArrowheads="1"/>
            </p:cNvSpPr>
            <p:nvPr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1" name="Oval 312"/>
            <p:cNvSpPr>
              <a:spLocks noChangeAspect="1" noChangeArrowheads="1"/>
            </p:cNvSpPr>
            <p:nvPr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2" name="Oval 313"/>
            <p:cNvSpPr>
              <a:spLocks noChangeAspect="1" noChangeArrowheads="1"/>
            </p:cNvSpPr>
            <p:nvPr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3" name="Oval 314"/>
            <p:cNvSpPr>
              <a:spLocks noChangeAspect="1" noChangeArrowheads="1"/>
            </p:cNvSpPr>
            <p:nvPr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4" name="Oval 315"/>
            <p:cNvSpPr>
              <a:spLocks noChangeAspect="1" noChangeArrowheads="1"/>
            </p:cNvSpPr>
            <p:nvPr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5" name="Oval 316"/>
            <p:cNvSpPr>
              <a:spLocks noChangeAspect="1" noChangeArrowheads="1"/>
            </p:cNvSpPr>
            <p:nvPr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6" name="Oval 317"/>
            <p:cNvSpPr>
              <a:spLocks noChangeAspect="1" noChangeArrowheads="1"/>
            </p:cNvSpPr>
            <p:nvPr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7" name="Oval 318"/>
            <p:cNvSpPr>
              <a:spLocks noChangeAspect="1" noChangeArrowheads="1"/>
            </p:cNvSpPr>
            <p:nvPr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8" name="Oval 319"/>
            <p:cNvSpPr>
              <a:spLocks noChangeAspect="1" noChangeArrowheads="1"/>
            </p:cNvSpPr>
            <p:nvPr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9" name="Oval 320"/>
            <p:cNvSpPr>
              <a:spLocks noChangeAspect="1" noChangeArrowheads="1"/>
            </p:cNvSpPr>
            <p:nvPr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0" name="Oval 321"/>
            <p:cNvSpPr>
              <a:spLocks noChangeAspect="1" noChangeArrowheads="1"/>
            </p:cNvSpPr>
            <p:nvPr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1" name="Oval 322"/>
            <p:cNvSpPr>
              <a:spLocks noChangeAspect="1" noChangeArrowheads="1"/>
            </p:cNvSpPr>
            <p:nvPr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2" name="Oval 323"/>
            <p:cNvSpPr>
              <a:spLocks noChangeAspect="1" noChangeArrowheads="1"/>
            </p:cNvSpPr>
            <p:nvPr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3" name="Oval 324"/>
            <p:cNvSpPr>
              <a:spLocks noChangeAspect="1" noChangeArrowheads="1"/>
            </p:cNvSpPr>
            <p:nvPr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4" name="Oval 325"/>
            <p:cNvSpPr>
              <a:spLocks noChangeAspect="1" noChangeArrowheads="1"/>
            </p:cNvSpPr>
            <p:nvPr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5" name="Oval 326"/>
            <p:cNvSpPr>
              <a:spLocks noChangeAspect="1" noChangeArrowheads="1"/>
            </p:cNvSpPr>
            <p:nvPr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6" name="Oval 327"/>
            <p:cNvSpPr>
              <a:spLocks noChangeAspect="1" noChangeArrowheads="1"/>
            </p:cNvSpPr>
            <p:nvPr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7" name="Oval 328"/>
            <p:cNvSpPr>
              <a:spLocks noChangeAspect="1" noChangeArrowheads="1"/>
            </p:cNvSpPr>
            <p:nvPr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8" name="Oval 329"/>
            <p:cNvSpPr>
              <a:spLocks noChangeAspect="1" noChangeArrowheads="1"/>
            </p:cNvSpPr>
            <p:nvPr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9" name="Oval 330"/>
            <p:cNvSpPr>
              <a:spLocks noChangeAspect="1" noChangeArrowheads="1"/>
            </p:cNvSpPr>
            <p:nvPr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0" name="Oval 331"/>
            <p:cNvSpPr>
              <a:spLocks noChangeAspect="1" noChangeArrowheads="1"/>
            </p:cNvSpPr>
            <p:nvPr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1" name="Oval 332"/>
            <p:cNvSpPr>
              <a:spLocks noChangeAspect="1" noChangeArrowheads="1"/>
            </p:cNvSpPr>
            <p:nvPr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2" name="Oval 333"/>
            <p:cNvSpPr>
              <a:spLocks noChangeAspect="1" noChangeArrowheads="1"/>
            </p:cNvSpPr>
            <p:nvPr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3" name="Oval 334"/>
            <p:cNvSpPr>
              <a:spLocks noChangeAspect="1" noChangeArrowheads="1"/>
            </p:cNvSpPr>
            <p:nvPr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4" name="Oval 335"/>
            <p:cNvSpPr>
              <a:spLocks noChangeAspect="1" noChangeArrowheads="1"/>
            </p:cNvSpPr>
            <p:nvPr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5" name="Oval 336"/>
            <p:cNvSpPr>
              <a:spLocks noChangeAspect="1" noChangeArrowheads="1"/>
            </p:cNvSpPr>
            <p:nvPr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6" name="Oval 337"/>
            <p:cNvSpPr>
              <a:spLocks noChangeAspect="1" noChangeArrowheads="1"/>
            </p:cNvSpPr>
            <p:nvPr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7" name="Oval 338"/>
            <p:cNvSpPr>
              <a:spLocks noChangeAspect="1" noChangeArrowheads="1"/>
            </p:cNvSpPr>
            <p:nvPr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8" name="Oval 339"/>
            <p:cNvSpPr>
              <a:spLocks noChangeAspect="1" noChangeArrowheads="1"/>
            </p:cNvSpPr>
            <p:nvPr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9" name="Oval 340"/>
            <p:cNvSpPr>
              <a:spLocks noChangeAspect="1" noChangeArrowheads="1"/>
            </p:cNvSpPr>
            <p:nvPr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0" name="Oval 341"/>
            <p:cNvSpPr>
              <a:spLocks noChangeAspect="1" noChangeArrowheads="1"/>
            </p:cNvSpPr>
            <p:nvPr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1" name="Oval 342"/>
            <p:cNvSpPr>
              <a:spLocks noChangeAspect="1" noChangeArrowheads="1"/>
            </p:cNvSpPr>
            <p:nvPr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2" name="Oval 343"/>
            <p:cNvSpPr>
              <a:spLocks noChangeAspect="1" noChangeArrowheads="1"/>
            </p:cNvSpPr>
            <p:nvPr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3" name="Oval 344"/>
            <p:cNvSpPr>
              <a:spLocks noChangeAspect="1" noChangeArrowheads="1"/>
            </p:cNvSpPr>
            <p:nvPr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4" name="Oval 345"/>
            <p:cNvSpPr>
              <a:spLocks noChangeAspect="1" noChangeArrowheads="1"/>
            </p:cNvSpPr>
            <p:nvPr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5" name="Oval 346"/>
            <p:cNvSpPr>
              <a:spLocks noChangeAspect="1" noChangeArrowheads="1"/>
            </p:cNvSpPr>
            <p:nvPr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6" name="Oval 347"/>
            <p:cNvSpPr>
              <a:spLocks noChangeAspect="1" noChangeArrowheads="1"/>
            </p:cNvSpPr>
            <p:nvPr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7" name="Oval 348"/>
            <p:cNvSpPr>
              <a:spLocks noChangeAspect="1" noChangeArrowheads="1"/>
            </p:cNvSpPr>
            <p:nvPr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8" name="Oval 349"/>
            <p:cNvSpPr>
              <a:spLocks noChangeAspect="1" noChangeArrowheads="1"/>
            </p:cNvSpPr>
            <p:nvPr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9" name="Oval 350"/>
            <p:cNvSpPr>
              <a:spLocks noChangeAspect="1" noChangeArrowheads="1"/>
            </p:cNvSpPr>
            <p:nvPr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0" name="Oval 351"/>
            <p:cNvSpPr>
              <a:spLocks noChangeAspect="1" noChangeArrowheads="1"/>
            </p:cNvSpPr>
            <p:nvPr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1" name="Oval 352"/>
            <p:cNvSpPr>
              <a:spLocks noChangeAspect="1" noChangeArrowheads="1"/>
            </p:cNvSpPr>
            <p:nvPr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2" name="Oval 353"/>
            <p:cNvSpPr>
              <a:spLocks noChangeAspect="1" noChangeArrowheads="1"/>
            </p:cNvSpPr>
            <p:nvPr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3" name="Oval 354"/>
            <p:cNvSpPr>
              <a:spLocks noChangeAspect="1" noChangeArrowheads="1"/>
            </p:cNvSpPr>
            <p:nvPr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4" name="Oval 355"/>
            <p:cNvSpPr>
              <a:spLocks noChangeAspect="1" noChangeArrowheads="1"/>
            </p:cNvSpPr>
            <p:nvPr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5" name="Oval 356"/>
            <p:cNvSpPr>
              <a:spLocks noChangeAspect="1" noChangeArrowheads="1"/>
            </p:cNvSpPr>
            <p:nvPr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6" name="Oval 357"/>
            <p:cNvSpPr>
              <a:spLocks noChangeAspect="1" noChangeArrowheads="1"/>
            </p:cNvSpPr>
            <p:nvPr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7" name="Oval 358"/>
            <p:cNvSpPr>
              <a:spLocks noChangeAspect="1" noChangeArrowheads="1"/>
            </p:cNvSpPr>
            <p:nvPr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8" name="Oval 359"/>
            <p:cNvSpPr>
              <a:spLocks noChangeAspect="1" noChangeArrowheads="1"/>
            </p:cNvSpPr>
            <p:nvPr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519" name="Oval 360"/>
            <p:cNvSpPr>
              <a:spLocks noChangeAspect="1" noChangeArrowheads="1"/>
            </p:cNvSpPr>
            <p:nvPr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0" name="Oval 361"/>
            <p:cNvSpPr>
              <a:spLocks noChangeAspect="1" noChangeArrowheads="1"/>
            </p:cNvSpPr>
            <p:nvPr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1" name="Oval 362"/>
            <p:cNvSpPr>
              <a:spLocks noChangeAspect="1" noChangeArrowheads="1"/>
            </p:cNvSpPr>
            <p:nvPr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2" name="Oval 363"/>
            <p:cNvSpPr>
              <a:spLocks noChangeAspect="1" noChangeArrowheads="1"/>
            </p:cNvSpPr>
            <p:nvPr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3" name="Oval 364"/>
            <p:cNvSpPr>
              <a:spLocks noChangeAspect="1" noChangeArrowheads="1"/>
            </p:cNvSpPr>
            <p:nvPr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4" name="Oval 365"/>
            <p:cNvSpPr>
              <a:spLocks noChangeAspect="1" noChangeArrowheads="1"/>
            </p:cNvSpPr>
            <p:nvPr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5" name="Oval 366"/>
            <p:cNvSpPr>
              <a:spLocks noChangeAspect="1" noChangeArrowheads="1"/>
            </p:cNvSpPr>
            <p:nvPr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6" name="Oval 367"/>
            <p:cNvSpPr>
              <a:spLocks noChangeAspect="1" noChangeArrowheads="1"/>
            </p:cNvSpPr>
            <p:nvPr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7" name="Oval 368"/>
            <p:cNvSpPr>
              <a:spLocks noChangeAspect="1" noChangeArrowheads="1"/>
            </p:cNvSpPr>
            <p:nvPr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8" name="Oval 369"/>
            <p:cNvSpPr>
              <a:spLocks noChangeAspect="1" noChangeArrowheads="1"/>
            </p:cNvSpPr>
            <p:nvPr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9" name="Oval 370"/>
            <p:cNvSpPr>
              <a:spLocks noChangeAspect="1" noChangeArrowheads="1"/>
            </p:cNvSpPr>
            <p:nvPr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0" name="Oval 371"/>
            <p:cNvSpPr>
              <a:spLocks noChangeAspect="1" noChangeArrowheads="1"/>
            </p:cNvSpPr>
            <p:nvPr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1" name="Oval 372"/>
            <p:cNvSpPr>
              <a:spLocks noChangeAspect="1" noChangeArrowheads="1"/>
            </p:cNvSpPr>
            <p:nvPr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2" name="Oval 373"/>
            <p:cNvSpPr>
              <a:spLocks noChangeAspect="1" noChangeArrowheads="1"/>
            </p:cNvSpPr>
            <p:nvPr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3" name="Oval 374"/>
            <p:cNvSpPr>
              <a:spLocks noChangeAspect="1" noChangeArrowheads="1"/>
            </p:cNvSpPr>
            <p:nvPr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4" name="Oval 375"/>
            <p:cNvSpPr>
              <a:spLocks noChangeAspect="1" noChangeArrowheads="1"/>
            </p:cNvSpPr>
            <p:nvPr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5" name="Oval 376"/>
            <p:cNvSpPr>
              <a:spLocks noChangeAspect="1" noChangeArrowheads="1"/>
            </p:cNvSpPr>
            <p:nvPr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6" name="Oval 377"/>
            <p:cNvSpPr>
              <a:spLocks noChangeAspect="1" noChangeArrowheads="1"/>
            </p:cNvSpPr>
            <p:nvPr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7" name="Oval 378"/>
            <p:cNvSpPr>
              <a:spLocks noChangeAspect="1" noChangeArrowheads="1"/>
            </p:cNvSpPr>
            <p:nvPr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8" name="Oval 379"/>
            <p:cNvSpPr>
              <a:spLocks noChangeAspect="1" noChangeArrowheads="1"/>
            </p:cNvSpPr>
            <p:nvPr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9" name="Oval 380"/>
            <p:cNvSpPr>
              <a:spLocks noChangeAspect="1" noChangeArrowheads="1"/>
            </p:cNvSpPr>
            <p:nvPr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0" name="Oval 381"/>
            <p:cNvSpPr>
              <a:spLocks noChangeAspect="1" noChangeArrowheads="1"/>
            </p:cNvSpPr>
            <p:nvPr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1" name="Oval 382"/>
            <p:cNvSpPr>
              <a:spLocks noChangeAspect="1" noChangeArrowheads="1"/>
            </p:cNvSpPr>
            <p:nvPr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2" name="Oval 383"/>
            <p:cNvSpPr>
              <a:spLocks noChangeAspect="1" noChangeArrowheads="1"/>
            </p:cNvSpPr>
            <p:nvPr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3" name="Oval 384"/>
            <p:cNvSpPr>
              <a:spLocks noChangeAspect="1" noChangeArrowheads="1"/>
            </p:cNvSpPr>
            <p:nvPr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4" name="Oval 385"/>
            <p:cNvSpPr>
              <a:spLocks noChangeAspect="1" noChangeArrowheads="1"/>
            </p:cNvSpPr>
            <p:nvPr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5" name="Oval 386"/>
            <p:cNvSpPr>
              <a:spLocks noChangeAspect="1" noChangeArrowheads="1"/>
            </p:cNvSpPr>
            <p:nvPr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6" name="Oval 387"/>
            <p:cNvSpPr>
              <a:spLocks noChangeAspect="1" noChangeArrowheads="1"/>
            </p:cNvSpPr>
            <p:nvPr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7" name="Oval 388"/>
            <p:cNvSpPr>
              <a:spLocks noChangeAspect="1" noChangeArrowheads="1"/>
            </p:cNvSpPr>
            <p:nvPr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8" name="Oval 389"/>
            <p:cNvSpPr>
              <a:spLocks noChangeAspect="1" noChangeArrowheads="1"/>
            </p:cNvSpPr>
            <p:nvPr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9" name="Oval 390"/>
            <p:cNvSpPr>
              <a:spLocks noChangeAspect="1" noChangeArrowheads="1"/>
            </p:cNvSpPr>
            <p:nvPr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0" name="Oval 391"/>
            <p:cNvSpPr>
              <a:spLocks noChangeAspect="1" noChangeArrowheads="1"/>
            </p:cNvSpPr>
            <p:nvPr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1" name="Oval 392"/>
            <p:cNvSpPr>
              <a:spLocks noChangeAspect="1" noChangeArrowheads="1"/>
            </p:cNvSpPr>
            <p:nvPr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2" name="Oval 393"/>
            <p:cNvSpPr>
              <a:spLocks noChangeAspect="1" noChangeArrowheads="1"/>
            </p:cNvSpPr>
            <p:nvPr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3" name="Oval 394"/>
            <p:cNvSpPr>
              <a:spLocks noChangeAspect="1" noChangeArrowheads="1"/>
            </p:cNvSpPr>
            <p:nvPr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4" name="Oval 395"/>
            <p:cNvSpPr>
              <a:spLocks noChangeAspect="1" noChangeArrowheads="1"/>
            </p:cNvSpPr>
            <p:nvPr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5" name="Oval 396"/>
            <p:cNvSpPr>
              <a:spLocks noChangeAspect="1" noChangeArrowheads="1"/>
            </p:cNvSpPr>
            <p:nvPr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6" name="Oval 397"/>
            <p:cNvSpPr>
              <a:spLocks noChangeAspect="1" noChangeArrowheads="1"/>
            </p:cNvSpPr>
            <p:nvPr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7" name="Oval 398"/>
            <p:cNvSpPr>
              <a:spLocks noChangeAspect="1" noChangeArrowheads="1"/>
            </p:cNvSpPr>
            <p:nvPr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8" name="Oval 399"/>
            <p:cNvSpPr>
              <a:spLocks noChangeAspect="1" noChangeArrowheads="1"/>
            </p:cNvSpPr>
            <p:nvPr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9" name="Oval 400"/>
            <p:cNvSpPr>
              <a:spLocks noChangeAspect="1" noChangeArrowheads="1"/>
            </p:cNvSpPr>
            <p:nvPr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0" name="Oval 401"/>
            <p:cNvSpPr>
              <a:spLocks noChangeAspect="1" noChangeArrowheads="1"/>
            </p:cNvSpPr>
            <p:nvPr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1" name="Oval 402"/>
            <p:cNvSpPr>
              <a:spLocks noChangeAspect="1" noChangeArrowheads="1"/>
            </p:cNvSpPr>
            <p:nvPr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2" name="Oval 403"/>
            <p:cNvSpPr>
              <a:spLocks noChangeAspect="1" noChangeArrowheads="1"/>
            </p:cNvSpPr>
            <p:nvPr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3" name="Oval 404"/>
            <p:cNvSpPr>
              <a:spLocks noChangeAspect="1" noChangeArrowheads="1"/>
            </p:cNvSpPr>
            <p:nvPr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4" name="Oval 405"/>
            <p:cNvSpPr>
              <a:spLocks noChangeAspect="1" noChangeArrowheads="1"/>
            </p:cNvSpPr>
            <p:nvPr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5" name="Oval 406"/>
            <p:cNvSpPr>
              <a:spLocks noChangeAspect="1" noChangeArrowheads="1"/>
            </p:cNvSpPr>
            <p:nvPr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6" name="Oval 407"/>
            <p:cNvSpPr>
              <a:spLocks noChangeAspect="1" noChangeArrowheads="1"/>
            </p:cNvSpPr>
            <p:nvPr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7" name="Oval 408"/>
            <p:cNvSpPr>
              <a:spLocks noChangeAspect="1" noChangeArrowheads="1"/>
            </p:cNvSpPr>
            <p:nvPr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568" name="Oval 409"/>
            <p:cNvSpPr>
              <a:spLocks noChangeAspect="1" noChangeArrowheads="1"/>
            </p:cNvSpPr>
            <p:nvPr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9" name="Oval 410"/>
            <p:cNvSpPr>
              <a:spLocks noChangeAspect="1" noChangeArrowheads="1"/>
            </p:cNvSpPr>
            <p:nvPr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0" name="Oval 411"/>
            <p:cNvSpPr>
              <a:spLocks noChangeAspect="1" noChangeArrowheads="1"/>
            </p:cNvSpPr>
            <p:nvPr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1" name="Oval 412"/>
            <p:cNvSpPr>
              <a:spLocks noChangeAspect="1" noChangeArrowheads="1"/>
            </p:cNvSpPr>
            <p:nvPr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2" name="Oval 413"/>
            <p:cNvSpPr>
              <a:spLocks noChangeAspect="1" noChangeArrowheads="1"/>
            </p:cNvSpPr>
            <p:nvPr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3" name="Oval 414"/>
            <p:cNvSpPr>
              <a:spLocks noChangeAspect="1" noChangeArrowheads="1"/>
            </p:cNvSpPr>
            <p:nvPr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4" name="Oval 415"/>
            <p:cNvSpPr>
              <a:spLocks noChangeAspect="1" noChangeArrowheads="1"/>
            </p:cNvSpPr>
            <p:nvPr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5" name="Oval 416"/>
            <p:cNvSpPr>
              <a:spLocks noChangeAspect="1" noChangeArrowheads="1"/>
            </p:cNvSpPr>
            <p:nvPr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6" name="Oval 417"/>
            <p:cNvSpPr>
              <a:spLocks noChangeAspect="1" noChangeArrowheads="1"/>
            </p:cNvSpPr>
            <p:nvPr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7" name="Oval 418"/>
            <p:cNvSpPr>
              <a:spLocks noChangeAspect="1" noChangeArrowheads="1"/>
            </p:cNvSpPr>
            <p:nvPr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8" name="Oval 419"/>
            <p:cNvSpPr>
              <a:spLocks noChangeAspect="1" noChangeArrowheads="1"/>
            </p:cNvSpPr>
            <p:nvPr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9" name="Oval 420"/>
            <p:cNvSpPr>
              <a:spLocks noChangeAspect="1" noChangeArrowheads="1"/>
            </p:cNvSpPr>
            <p:nvPr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0" name="Oval 421"/>
            <p:cNvSpPr>
              <a:spLocks noChangeAspect="1" noChangeArrowheads="1"/>
            </p:cNvSpPr>
            <p:nvPr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1" name="Oval 422"/>
            <p:cNvSpPr>
              <a:spLocks noChangeAspect="1" noChangeArrowheads="1"/>
            </p:cNvSpPr>
            <p:nvPr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2" name="Oval 423"/>
            <p:cNvSpPr>
              <a:spLocks noChangeAspect="1" noChangeArrowheads="1"/>
            </p:cNvSpPr>
            <p:nvPr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3" name="Oval 424"/>
            <p:cNvSpPr>
              <a:spLocks noChangeAspect="1" noChangeArrowheads="1"/>
            </p:cNvSpPr>
            <p:nvPr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4" name="Oval 425"/>
            <p:cNvSpPr>
              <a:spLocks noChangeAspect="1" noChangeArrowheads="1"/>
            </p:cNvSpPr>
            <p:nvPr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5" name="Oval 426"/>
            <p:cNvSpPr>
              <a:spLocks noChangeAspect="1" noChangeArrowheads="1"/>
            </p:cNvSpPr>
            <p:nvPr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6" name="Oval 427"/>
            <p:cNvSpPr>
              <a:spLocks noChangeAspect="1" noChangeArrowheads="1"/>
            </p:cNvSpPr>
            <p:nvPr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7" name="Oval 428"/>
            <p:cNvSpPr>
              <a:spLocks noChangeAspect="1" noChangeArrowheads="1"/>
            </p:cNvSpPr>
            <p:nvPr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8" name="Oval 429"/>
            <p:cNvSpPr>
              <a:spLocks noChangeAspect="1" noChangeArrowheads="1"/>
            </p:cNvSpPr>
            <p:nvPr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9" name="Oval 430"/>
            <p:cNvSpPr>
              <a:spLocks noChangeAspect="1" noChangeArrowheads="1"/>
            </p:cNvSpPr>
            <p:nvPr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0" name="Oval 431"/>
            <p:cNvSpPr>
              <a:spLocks noChangeAspect="1" noChangeArrowheads="1"/>
            </p:cNvSpPr>
            <p:nvPr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1" name="Oval 432"/>
            <p:cNvSpPr>
              <a:spLocks noChangeAspect="1" noChangeArrowheads="1"/>
            </p:cNvSpPr>
            <p:nvPr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2" name="Oval 433"/>
            <p:cNvSpPr>
              <a:spLocks noChangeAspect="1" noChangeArrowheads="1"/>
            </p:cNvSpPr>
            <p:nvPr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3" name="Oval 434"/>
            <p:cNvSpPr>
              <a:spLocks noChangeAspect="1" noChangeArrowheads="1"/>
            </p:cNvSpPr>
            <p:nvPr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4" name="Oval 435"/>
            <p:cNvSpPr>
              <a:spLocks noChangeAspect="1" noChangeArrowheads="1"/>
            </p:cNvSpPr>
            <p:nvPr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5" name="Oval 436"/>
            <p:cNvSpPr>
              <a:spLocks noChangeAspect="1" noChangeArrowheads="1"/>
            </p:cNvSpPr>
            <p:nvPr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6" name="Oval 437"/>
            <p:cNvSpPr>
              <a:spLocks noChangeAspect="1" noChangeArrowheads="1"/>
            </p:cNvSpPr>
            <p:nvPr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7" name="Oval 438"/>
            <p:cNvSpPr>
              <a:spLocks noChangeAspect="1" noChangeArrowheads="1"/>
            </p:cNvSpPr>
            <p:nvPr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8" name="Oval 439"/>
            <p:cNvSpPr>
              <a:spLocks noChangeAspect="1" noChangeArrowheads="1"/>
            </p:cNvSpPr>
            <p:nvPr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9" name="Oval 440"/>
            <p:cNvSpPr>
              <a:spLocks noChangeAspect="1" noChangeArrowheads="1"/>
            </p:cNvSpPr>
            <p:nvPr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0" name="Oval 441"/>
            <p:cNvSpPr>
              <a:spLocks noChangeAspect="1" noChangeArrowheads="1"/>
            </p:cNvSpPr>
            <p:nvPr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1" name="Oval 442"/>
            <p:cNvSpPr>
              <a:spLocks noChangeAspect="1" noChangeArrowheads="1"/>
            </p:cNvSpPr>
            <p:nvPr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2" name="Oval 443"/>
            <p:cNvSpPr>
              <a:spLocks noChangeAspect="1" noChangeArrowheads="1"/>
            </p:cNvSpPr>
            <p:nvPr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3" name="Oval 444"/>
            <p:cNvSpPr>
              <a:spLocks noChangeAspect="1" noChangeArrowheads="1"/>
            </p:cNvSpPr>
            <p:nvPr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4" name="Oval 445"/>
            <p:cNvSpPr>
              <a:spLocks noChangeAspect="1" noChangeArrowheads="1"/>
            </p:cNvSpPr>
            <p:nvPr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5" name="Oval 446"/>
            <p:cNvSpPr>
              <a:spLocks noChangeAspect="1" noChangeArrowheads="1"/>
            </p:cNvSpPr>
            <p:nvPr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6" name="Oval 447"/>
            <p:cNvSpPr>
              <a:spLocks noChangeAspect="1" noChangeArrowheads="1"/>
            </p:cNvSpPr>
            <p:nvPr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7" name="Oval 448"/>
            <p:cNvSpPr>
              <a:spLocks noChangeAspect="1" noChangeArrowheads="1"/>
            </p:cNvSpPr>
            <p:nvPr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8" name="Oval 449"/>
            <p:cNvSpPr>
              <a:spLocks noChangeAspect="1" noChangeArrowheads="1"/>
            </p:cNvSpPr>
            <p:nvPr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9" name="Oval 450"/>
            <p:cNvSpPr>
              <a:spLocks noChangeAspect="1" noChangeArrowheads="1"/>
            </p:cNvSpPr>
            <p:nvPr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0" name="Oval 451"/>
            <p:cNvSpPr>
              <a:spLocks noChangeAspect="1" noChangeArrowheads="1"/>
            </p:cNvSpPr>
            <p:nvPr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1" name="Oval 452"/>
            <p:cNvSpPr>
              <a:spLocks noChangeAspect="1" noChangeArrowheads="1"/>
            </p:cNvSpPr>
            <p:nvPr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2" name="Oval 453"/>
            <p:cNvSpPr>
              <a:spLocks noChangeAspect="1" noChangeArrowheads="1"/>
            </p:cNvSpPr>
            <p:nvPr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3" name="Oval 454"/>
            <p:cNvSpPr>
              <a:spLocks noChangeAspect="1" noChangeArrowheads="1"/>
            </p:cNvSpPr>
            <p:nvPr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4" name="Oval 455"/>
            <p:cNvSpPr>
              <a:spLocks noChangeAspect="1" noChangeArrowheads="1"/>
            </p:cNvSpPr>
            <p:nvPr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5" name="Oval 456"/>
            <p:cNvSpPr>
              <a:spLocks noChangeAspect="1" noChangeArrowheads="1"/>
            </p:cNvSpPr>
            <p:nvPr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6" name="Oval 457"/>
            <p:cNvSpPr>
              <a:spLocks noChangeAspect="1" noChangeArrowheads="1"/>
            </p:cNvSpPr>
            <p:nvPr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7" name="Oval 458"/>
            <p:cNvSpPr>
              <a:spLocks noChangeAspect="1" noChangeArrowheads="1"/>
            </p:cNvSpPr>
            <p:nvPr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8" name="Oval 459"/>
            <p:cNvSpPr>
              <a:spLocks noChangeAspect="1" noChangeArrowheads="1"/>
            </p:cNvSpPr>
            <p:nvPr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9" name="Oval 460"/>
            <p:cNvSpPr>
              <a:spLocks noChangeAspect="1" noChangeArrowheads="1"/>
            </p:cNvSpPr>
            <p:nvPr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0" name="Oval 461"/>
            <p:cNvSpPr>
              <a:spLocks noChangeAspect="1" noChangeArrowheads="1"/>
            </p:cNvSpPr>
            <p:nvPr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1" name="Oval 462"/>
            <p:cNvSpPr>
              <a:spLocks noChangeAspect="1" noChangeArrowheads="1"/>
            </p:cNvSpPr>
            <p:nvPr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2" name="Oval 463"/>
            <p:cNvSpPr>
              <a:spLocks noChangeAspect="1" noChangeArrowheads="1"/>
            </p:cNvSpPr>
            <p:nvPr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3" name="Oval 464"/>
            <p:cNvSpPr>
              <a:spLocks noChangeAspect="1" noChangeArrowheads="1"/>
            </p:cNvSpPr>
            <p:nvPr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4" name="Oval 465"/>
            <p:cNvSpPr>
              <a:spLocks noChangeAspect="1" noChangeArrowheads="1"/>
            </p:cNvSpPr>
            <p:nvPr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5" name="Oval 466"/>
            <p:cNvSpPr>
              <a:spLocks noChangeAspect="1" noChangeArrowheads="1"/>
            </p:cNvSpPr>
            <p:nvPr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6" name="Oval 467"/>
            <p:cNvSpPr>
              <a:spLocks noChangeAspect="1" noChangeArrowheads="1"/>
            </p:cNvSpPr>
            <p:nvPr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7" name="Oval 468"/>
            <p:cNvSpPr>
              <a:spLocks noChangeAspect="1" noChangeArrowheads="1"/>
            </p:cNvSpPr>
            <p:nvPr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8" name="Oval 469"/>
            <p:cNvSpPr>
              <a:spLocks noChangeAspect="1" noChangeArrowheads="1"/>
            </p:cNvSpPr>
            <p:nvPr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9" name="Oval 470"/>
            <p:cNvSpPr>
              <a:spLocks noChangeAspect="1" noChangeArrowheads="1"/>
            </p:cNvSpPr>
            <p:nvPr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0" name="Oval 471"/>
            <p:cNvSpPr>
              <a:spLocks noChangeAspect="1" noChangeArrowheads="1"/>
            </p:cNvSpPr>
            <p:nvPr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1" name="Oval 472"/>
            <p:cNvSpPr>
              <a:spLocks noChangeAspect="1" noChangeArrowheads="1"/>
            </p:cNvSpPr>
            <p:nvPr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2" name="Oval 473"/>
            <p:cNvSpPr>
              <a:spLocks noChangeAspect="1" noChangeArrowheads="1"/>
            </p:cNvSpPr>
            <p:nvPr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3" name="Oval 474"/>
            <p:cNvSpPr>
              <a:spLocks noChangeAspect="1" noChangeArrowheads="1"/>
            </p:cNvSpPr>
            <p:nvPr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4" name="Oval 475"/>
            <p:cNvSpPr>
              <a:spLocks noChangeAspect="1" noChangeArrowheads="1"/>
            </p:cNvSpPr>
            <p:nvPr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5" name="Oval 476"/>
            <p:cNvSpPr>
              <a:spLocks noChangeAspect="1" noChangeArrowheads="1"/>
            </p:cNvSpPr>
            <p:nvPr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6" name="Oval 477"/>
            <p:cNvSpPr>
              <a:spLocks noChangeAspect="1" noChangeArrowheads="1"/>
            </p:cNvSpPr>
            <p:nvPr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7" name="Oval 478"/>
            <p:cNvSpPr>
              <a:spLocks noChangeAspect="1" noChangeArrowheads="1"/>
            </p:cNvSpPr>
            <p:nvPr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8" name="Oval 479"/>
            <p:cNvSpPr>
              <a:spLocks noChangeAspect="1" noChangeArrowheads="1"/>
            </p:cNvSpPr>
            <p:nvPr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9" name="Oval 480"/>
            <p:cNvSpPr>
              <a:spLocks noChangeAspect="1" noChangeArrowheads="1"/>
            </p:cNvSpPr>
            <p:nvPr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0" name="Oval 481"/>
            <p:cNvSpPr>
              <a:spLocks noChangeAspect="1" noChangeArrowheads="1"/>
            </p:cNvSpPr>
            <p:nvPr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1" name="Oval 482"/>
            <p:cNvSpPr>
              <a:spLocks noChangeAspect="1" noChangeArrowheads="1"/>
            </p:cNvSpPr>
            <p:nvPr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2" name="Oval 483"/>
            <p:cNvSpPr>
              <a:spLocks noChangeAspect="1" noChangeArrowheads="1"/>
            </p:cNvSpPr>
            <p:nvPr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3" name="Oval 484"/>
            <p:cNvSpPr>
              <a:spLocks noChangeAspect="1" noChangeArrowheads="1"/>
            </p:cNvSpPr>
            <p:nvPr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4" name="Oval 485"/>
            <p:cNvSpPr>
              <a:spLocks noChangeAspect="1" noChangeArrowheads="1"/>
            </p:cNvSpPr>
            <p:nvPr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5" name="Oval 486"/>
            <p:cNvSpPr>
              <a:spLocks noChangeAspect="1" noChangeArrowheads="1"/>
            </p:cNvSpPr>
            <p:nvPr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6" name="Oval 487"/>
            <p:cNvSpPr>
              <a:spLocks noChangeAspect="1" noChangeArrowheads="1"/>
            </p:cNvSpPr>
            <p:nvPr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7" name="Oval 488"/>
            <p:cNvSpPr>
              <a:spLocks noChangeAspect="1" noChangeArrowheads="1"/>
            </p:cNvSpPr>
            <p:nvPr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8" name="Oval 489"/>
            <p:cNvSpPr>
              <a:spLocks noChangeAspect="1" noChangeArrowheads="1"/>
            </p:cNvSpPr>
            <p:nvPr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9" name="Oval 490"/>
            <p:cNvSpPr>
              <a:spLocks noChangeAspect="1" noChangeArrowheads="1"/>
            </p:cNvSpPr>
            <p:nvPr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0" name="Oval 491"/>
            <p:cNvSpPr>
              <a:spLocks noChangeAspect="1" noChangeArrowheads="1"/>
            </p:cNvSpPr>
            <p:nvPr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1" name="Oval 492"/>
            <p:cNvSpPr>
              <a:spLocks noChangeAspect="1" noChangeArrowheads="1"/>
            </p:cNvSpPr>
            <p:nvPr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2" name="Oval 493"/>
            <p:cNvSpPr>
              <a:spLocks noChangeAspect="1" noChangeArrowheads="1"/>
            </p:cNvSpPr>
            <p:nvPr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3" name="Oval 494"/>
            <p:cNvSpPr>
              <a:spLocks noChangeAspect="1" noChangeArrowheads="1"/>
            </p:cNvSpPr>
            <p:nvPr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4" name="Oval 495"/>
            <p:cNvSpPr>
              <a:spLocks noChangeAspect="1" noChangeArrowheads="1"/>
            </p:cNvSpPr>
            <p:nvPr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5" name="Oval 496"/>
            <p:cNvSpPr>
              <a:spLocks noChangeAspect="1" noChangeArrowheads="1"/>
            </p:cNvSpPr>
            <p:nvPr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6" name="Oval 497"/>
            <p:cNvSpPr>
              <a:spLocks noChangeAspect="1" noChangeArrowheads="1"/>
            </p:cNvSpPr>
            <p:nvPr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7" name="Oval 498"/>
            <p:cNvSpPr>
              <a:spLocks noChangeAspect="1" noChangeArrowheads="1"/>
            </p:cNvSpPr>
            <p:nvPr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8" name="Oval 499"/>
            <p:cNvSpPr>
              <a:spLocks noChangeAspect="1" noChangeArrowheads="1"/>
            </p:cNvSpPr>
            <p:nvPr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9" name="Oval 500"/>
            <p:cNvSpPr>
              <a:spLocks noChangeAspect="1" noChangeArrowheads="1"/>
            </p:cNvSpPr>
            <p:nvPr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0" name="Oval 501"/>
            <p:cNvSpPr>
              <a:spLocks noChangeAspect="1" noChangeArrowheads="1"/>
            </p:cNvSpPr>
            <p:nvPr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1" name="Oval 502"/>
            <p:cNvSpPr>
              <a:spLocks noChangeAspect="1" noChangeArrowheads="1"/>
            </p:cNvSpPr>
            <p:nvPr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2" name="Oval 503"/>
            <p:cNvSpPr>
              <a:spLocks noChangeAspect="1" noChangeArrowheads="1"/>
            </p:cNvSpPr>
            <p:nvPr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3" name="Oval 504"/>
            <p:cNvSpPr>
              <a:spLocks noChangeAspect="1" noChangeArrowheads="1"/>
            </p:cNvSpPr>
            <p:nvPr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4" name="Oval 505"/>
            <p:cNvSpPr>
              <a:spLocks noChangeAspect="1" noChangeArrowheads="1"/>
            </p:cNvSpPr>
            <p:nvPr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5" name="Oval 506"/>
            <p:cNvSpPr>
              <a:spLocks noChangeAspect="1" noChangeArrowheads="1"/>
            </p:cNvSpPr>
            <p:nvPr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6" name="Oval 507"/>
            <p:cNvSpPr>
              <a:spLocks noChangeAspect="1" noChangeArrowheads="1"/>
            </p:cNvSpPr>
            <p:nvPr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7" name="Oval 508"/>
            <p:cNvSpPr>
              <a:spLocks noChangeAspect="1" noChangeArrowheads="1"/>
            </p:cNvSpPr>
            <p:nvPr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8" name="Oval 509"/>
            <p:cNvSpPr>
              <a:spLocks noChangeAspect="1" noChangeArrowheads="1"/>
            </p:cNvSpPr>
            <p:nvPr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9" name="Oval 510"/>
            <p:cNvSpPr>
              <a:spLocks noChangeAspect="1" noChangeArrowheads="1"/>
            </p:cNvSpPr>
            <p:nvPr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0" name="Oval 511"/>
            <p:cNvSpPr>
              <a:spLocks noChangeAspect="1" noChangeArrowheads="1"/>
            </p:cNvSpPr>
            <p:nvPr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1" name="Oval 512"/>
            <p:cNvSpPr>
              <a:spLocks noChangeAspect="1" noChangeArrowheads="1"/>
            </p:cNvSpPr>
            <p:nvPr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2" name="Oval 513"/>
            <p:cNvSpPr>
              <a:spLocks noChangeAspect="1" noChangeArrowheads="1"/>
            </p:cNvSpPr>
            <p:nvPr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3" name="Oval 514"/>
            <p:cNvSpPr>
              <a:spLocks noChangeAspect="1" noChangeArrowheads="1"/>
            </p:cNvSpPr>
            <p:nvPr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4" name="Oval 515"/>
            <p:cNvSpPr>
              <a:spLocks noChangeAspect="1" noChangeArrowheads="1"/>
            </p:cNvSpPr>
            <p:nvPr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5" name="Oval 516"/>
            <p:cNvSpPr>
              <a:spLocks noChangeAspect="1" noChangeArrowheads="1"/>
            </p:cNvSpPr>
            <p:nvPr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6" name="Oval 517"/>
            <p:cNvSpPr>
              <a:spLocks noChangeAspect="1" noChangeArrowheads="1"/>
            </p:cNvSpPr>
            <p:nvPr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7" name="Oval 518"/>
            <p:cNvSpPr>
              <a:spLocks noChangeAspect="1" noChangeArrowheads="1"/>
            </p:cNvSpPr>
            <p:nvPr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8" name="Oval 519"/>
            <p:cNvSpPr>
              <a:spLocks noChangeAspect="1" noChangeArrowheads="1"/>
            </p:cNvSpPr>
            <p:nvPr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9" name="Oval 520"/>
            <p:cNvSpPr>
              <a:spLocks noChangeAspect="1" noChangeArrowheads="1"/>
            </p:cNvSpPr>
            <p:nvPr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0" name="Oval 521"/>
            <p:cNvSpPr>
              <a:spLocks noChangeAspect="1" noChangeArrowheads="1"/>
            </p:cNvSpPr>
            <p:nvPr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1" name="Oval 522"/>
            <p:cNvSpPr>
              <a:spLocks noChangeAspect="1" noChangeArrowheads="1"/>
            </p:cNvSpPr>
            <p:nvPr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2" name="Oval 523"/>
            <p:cNvSpPr>
              <a:spLocks noChangeAspect="1" noChangeArrowheads="1"/>
            </p:cNvSpPr>
            <p:nvPr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3" name="Oval 524"/>
            <p:cNvSpPr>
              <a:spLocks noChangeAspect="1" noChangeArrowheads="1"/>
            </p:cNvSpPr>
            <p:nvPr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4" name="Oval 525"/>
            <p:cNvSpPr>
              <a:spLocks noChangeAspect="1" noChangeArrowheads="1"/>
            </p:cNvSpPr>
            <p:nvPr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5" name="Oval 526"/>
            <p:cNvSpPr>
              <a:spLocks noChangeAspect="1" noChangeArrowheads="1"/>
            </p:cNvSpPr>
            <p:nvPr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6" name="Oval 527"/>
            <p:cNvSpPr>
              <a:spLocks noChangeAspect="1" noChangeArrowheads="1"/>
            </p:cNvSpPr>
            <p:nvPr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7" name="Oval 528"/>
            <p:cNvSpPr>
              <a:spLocks noChangeAspect="1" noChangeArrowheads="1"/>
            </p:cNvSpPr>
            <p:nvPr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8" name="Oval 529"/>
            <p:cNvSpPr>
              <a:spLocks noChangeAspect="1" noChangeArrowheads="1"/>
            </p:cNvSpPr>
            <p:nvPr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9" name="Oval 530"/>
            <p:cNvSpPr>
              <a:spLocks noChangeAspect="1" noChangeArrowheads="1"/>
            </p:cNvSpPr>
            <p:nvPr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0" name="Oval 531"/>
            <p:cNvSpPr>
              <a:spLocks noChangeAspect="1" noChangeArrowheads="1"/>
            </p:cNvSpPr>
            <p:nvPr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1" name="Oval 532"/>
            <p:cNvSpPr>
              <a:spLocks noChangeAspect="1" noChangeArrowheads="1"/>
            </p:cNvSpPr>
            <p:nvPr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2" name="Oval 533"/>
            <p:cNvSpPr>
              <a:spLocks noChangeAspect="1" noChangeArrowheads="1"/>
            </p:cNvSpPr>
            <p:nvPr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3" name="Oval 534"/>
            <p:cNvSpPr>
              <a:spLocks noChangeAspect="1" noChangeArrowheads="1"/>
            </p:cNvSpPr>
            <p:nvPr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4" name="Oval 535"/>
            <p:cNvSpPr>
              <a:spLocks noChangeAspect="1" noChangeArrowheads="1"/>
            </p:cNvSpPr>
            <p:nvPr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5" name="Oval 536"/>
            <p:cNvSpPr>
              <a:spLocks noChangeAspect="1" noChangeArrowheads="1"/>
            </p:cNvSpPr>
            <p:nvPr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6" name="Oval 537"/>
            <p:cNvSpPr>
              <a:spLocks noChangeAspect="1" noChangeArrowheads="1"/>
            </p:cNvSpPr>
            <p:nvPr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7" name="Oval 538"/>
            <p:cNvSpPr>
              <a:spLocks noChangeAspect="1" noChangeArrowheads="1"/>
            </p:cNvSpPr>
            <p:nvPr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8" name="Oval 539"/>
            <p:cNvSpPr>
              <a:spLocks noChangeAspect="1" noChangeArrowheads="1"/>
            </p:cNvSpPr>
            <p:nvPr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9" name="Oval 540"/>
            <p:cNvSpPr>
              <a:spLocks noChangeAspect="1" noChangeArrowheads="1"/>
            </p:cNvSpPr>
            <p:nvPr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0" name="Oval 541"/>
            <p:cNvSpPr>
              <a:spLocks noChangeAspect="1" noChangeArrowheads="1"/>
            </p:cNvSpPr>
            <p:nvPr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1" name="Oval 542"/>
            <p:cNvSpPr>
              <a:spLocks noChangeAspect="1" noChangeArrowheads="1"/>
            </p:cNvSpPr>
            <p:nvPr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2" name="Oval 543"/>
            <p:cNvSpPr>
              <a:spLocks noChangeAspect="1" noChangeArrowheads="1"/>
            </p:cNvSpPr>
            <p:nvPr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3" name="Oval 544"/>
            <p:cNvSpPr>
              <a:spLocks noChangeAspect="1" noChangeArrowheads="1"/>
            </p:cNvSpPr>
            <p:nvPr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4" name="Oval 545"/>
            <p:cNvSpPr>
              <a:spLocks noChangeAspect="1" noChangeArrowheads="1"/>
            </p:cNvSpPr>
            <p:nvPr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5" name="Oval 546"/>
            <p:cNvSpPr>
              <a:spLocks noChangeAspect="1" noChangeArrowheads="1"/>
            </p:cNvSpPr>
            <p:nvPr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6" name="Oval 547"/>
            <p:cNvSpPr>
              <a:spLocks noChangeAspect="1" noChangeArrowheads="1"/>
            </p:cNvSpPr>
            <p:nvPr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7" name="Oval 548"/>
            <p:cNvSpPr>
              <a:spLocks noChangeAspect="1" noChangeArrowheads="1"/>
            </p:cNvSpPr>
            <p:nvPr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8" name="Oval 549"/>
            <p:cNvSpPr>
              <a:spLocks noChangeAspect="1" noChangeArrowheads="1"/>
            </p:cNvSpPr>
            <p:nvPr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9" name="Oval 550"/>
            <p:cNvSpPr>
              <a:spLocks noChangeAspect="1" noChangeArrowheads="1"/>
            </p:cNvSpPr>
            <p:nvPr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0" name="Oval 551"/>
            <p:cNvSpPr>
              <a:spLocks noChangeAspect="1" noChangeArrowheads="1"/>
            </p:cNvSpPr>
            <p:nvPr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1" name="Oval 552"/>
            <p:cNvSpPr>
              <a:spLocks noChangeAspect="1" noChangeArrowheads="1"/>
            </p:cNvSpPr>
            <p:nvPr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2" name="Oval 553"/>
            <p:cNvSpPr>
              <a:spLocks noChangeAspect="1" noChangeArrowheads="1"/>
            </p:cNvSpPr>
            <p:nvPr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3" name="Oval 554"/>
            <p:cNvSpPr>
              <a:spLocks noChangeAspect="1" noChangeArrowheads="1"/>
            </p:cNvSpPr>
            <p:nvPr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4" name="Oval 555"/>
            <p:cNvSpPr>
              <a:spLocks noChangeAspect="1" noChangeArrowheads="1"/>
            </p:cNvSpPr>
            <p:nvPr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5" name="Oval 556"/>
            <p:cNvSpPr>
              <a:spLocks noChangeAspect="1" noChangeArrowheads="1"/>
            </p:cNvSpPr>
            <p:nvPr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6" name="Oval 557"/>
            <p:cNvSpPr>
              <a:spLocks noChangeAspect="1" noChangeArrowheads="1"/>
            </p:cNvSpPr>
            <p:nvPr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7" name="Oval 558"/>
            <p:cNvSpPr>
              <a:spLocks noChangeAspect="1" noChangeArrowheads="1"/>
            </p:cNvSpPr>
            <p:nvPr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8" name="Oval 559"/>
            <p:cNvSpPr>
              <a:spLocks noChangeAspect="1" noChangeArrowheads="1"/>
            </p:cNvSpPr>
            <p:nvPr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9" name="Oval 560"/>
            <p:cNvSpPr>
              <a:spLocks noChangeAspect="1" noChangeArrowheads="1"/>
            </p:cNvSpPr>
            <p:nvPr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0" name="Oval 561"/>
            <p:cNvSpPr>
              <a:spLocks noChangeAspect="1" noChangeArrowheads="1"/>
            </p:cNvSpPr>
            <p:nvPr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1" name="Oval 562"/>
            <p:cNvSpPr>
              <a:spLocks noChangeAspect="1" noChangeArrowheads="1"/>
            </p:cNvSpPr>
            <p:nvPr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2" name="Oval 563"/>
            <p:cNvSpPr>
              <a:spLocks noChangeAspect="1" noChangeArrowheads="1"/>
            </p:cNvSpPr>
            <p:nvPr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3" name="Oval 564"/>
            <p:cNvSpPr>
              <a:spLocks noChangeAspect="1" noChangeArrowheads="1"/>
            </p:cNvSpPr>
            <p:nvPr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4" name="Oval 565"/>
            <p:cNvSpPr>
              <a:spLocks noChangeAspect="1" noChangeArrowheads="1"/>
            </p:cNvSpPr>
            <p:nvPr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5" name="Oval 566"/>
            <p:cNvSpPr>
              <a:spLocks noChangeAspect="1" noChangeArrowheads="1"/>
            </p:cNvSpPr>
            <p:nvPr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6" name="Oval 567"/>
            <p:cNvSpPr>
              <a:spLocks noChangeAspect="1" noChangeArrowheads="1"/>
            </p:cNvSpPr>
            <p:nvPr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7" name="Oval 568"/>
            <p:cNvSpPr>
              <a:spLocks noChangeAspect="1" noChangeArrowheads="1"/>
            </p:cNvSpPr>
            <p:nvPr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8" name="Oval 569"/>
            <p:cNvSpPr>
              <a:spLocks noChangeAspect="1" noChangeArrowheads="1"/>
            </p:cNvSpPr>
            <p:nvPr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9" name="Oval 570"/>
            <p:cNvSpPr>
              <a:spLocks noChangeAspect="1" noChangeArrowheads="1"/>
            </p:cNvSpPr>
            <p:nvPr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0" name="Oval 571"/>
            <p:cNvSpPr>
              <a:spLocks noChangeAspect="1" noChangeArrowheads="1"/>
            </p:cNvSpPr>
            <p:nvPr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1" name="Oval 572"/>
            <p:cNvSpPr>
              <a:spLocks noChangeAspect="1" noChangeArrowheads="1"/>
            </p:cNvSpPr>
            <p:nvPr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2" name="Oval 573"/>
            <p:cNvSpPr>
              <a:spLocks noChangeAspect="1" noChangeArrowheads="1"/>
            </p:cNvSpPr>
            <p:nvPr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3" name="Oval 574"/>
            <p:cNvSpPr>
              <a:spLocks noChangeAspect="1" noChangeArrowheads="1"/>
            </p:cNvSpPr>
            <p:nvPr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4" name="Oval 575"/>
            <p:cNvSpPr>
              <a:spLocks noChangeAspect="1" noChangeArrowheads="1"/>
            </p:cNvSpPr>
            <p:nvPr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5" name="Oval 576"/>
            <p:cNvSpPr>
              <a:spLocks noChangeAspect="1" noChangeArrowheads="1"/>
            </p:cNvSpPr>
            <p:nvPr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6" name="Oval 577"/>
            <p:cNvSpPr>
              <a:spLocks noChangeAspect="1" noChangeArrowheads="1"/>
            </p:cNvSpPr>
            <p:nvPr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7" name="Oval 578"/>
            <p:cNvSpPr>
              <a:spLocks noChangeAspect="1" noChangeArrowheads="1"/>
            </p:cNvSpPr>
            <p:nvPr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8" name="Oval 579"/>
            <p:cNvSpPr>
              <a:spLocks noChangeAspect="1" noChangeArrowheads="1"/>
            </p:cNvSpPr>
            <p:nvPr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9" name="Oval 580"/>
            <p:cNvSpPr>
              <a:spLocks noChangeAspect="1" noChangeArrowheads="1"/>
            </p:cNvSpPr>
            <p:nvPr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0" name="Oval 581"/>
            <p:cNvSpPr>
              <a:spLocks noChangeAspect="1" noChangeArrowheads="1"/>
            </p:cNvSpPr>
            <p:nvPr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1" name="Oval 582"/>
            <p:cNvSpPr>
              <a:spLocks noChangeAspect="1" noChangeArrowheads="1"/>
            </p:cNvSpPr>
            <p:nvPr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2" name="Oval 583"/>
            <p:cNvSpPr>
              <a:spLocks noChangeAspect="1" noChangeArrowheads="1"/>
            </p:cNvSpPr>
            <p:nvPr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3" name="Oval 584"/>
            <p:cNvSpPr>
              <a:spLocks noChangeAspect="1" noChangeArrowheads="1"/>
            </p:cNvSpPr>
            <p:nvPr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4" name="Oval 585"/>
            <p:cNvSpPr>
              <a:spLocks noChangeAspect="1" noChangeArrowheads="1"/>
            </p:cNvSpPr>
            <p:nvPr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5" name="Oval 586"/>
            <p:cNvSpPr>
              <a:spLocks noChangeAspect="1" noChangeArrowheads="1"/>
            </p:cNvSpPr>
            <p:nvPr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6" name="Oval 587"/>
            <p:cNvSpPr>
              <a:spLocks noChangeAspect="1" noChangeArrowheads="1"/>
            </p:cNvSpPr>
            <p:nvPr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7" name="Oval 588"/>
            <p:cNvSpPr>
              <a:spLocks noChangeAspect="1" noChangeArrowheads="1"/>
            </p:cNvSpPr>
            <p:nvPr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8" name="Oval 589"/>
            <p:cNvSpPr>
              <a:spLocks noChangeAspect="1" noChangeArrowheads="1"/>
            </p:cNvSpPr>
            <p:nvPr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9" name="Oval 590"/>
            <p:cNvSpPr>
              <a:spLocks noChangeAspect="1" noChangeArrowheads="1"/>
            </p:cNvSpPr>
            <p:nvPr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0" name="Oval 591"/>
            <p:cNvSpPr>
              <a:spLocks noChangeAspect="1" noChangeArrowheads="1"/>
            </p:cNvSpPr>
            <p:nvPr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1" name="Oval 592"/>
            <p:cNvSpPr>
              <a:spLocks noChangeAspect="1" noChangeArrowheads="1"/>
            </p:cNvSpPr>
            <p:nvPr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2" name="Oval 593"/>
            <p:cNvSpPr>
              <a:spLocks noChangeAspect="1" noChangeArrowheads="1"/>
            </p:cNvSpPr>
            <p:nvPr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3" name="Oval 594"/>
            <p:cNvSpPr>
              <a:spLocks noChangeAspect="1" noChangeArrowheads="1"/>
            </p:cNvSpPr>
            <p:nvPr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4" name="Oval 595"/>
            <p:cNvSpPr>
              <a:spLocks noChangeAspect="1" noChangeArrowheads="1"/>
            </p:cNvSpPr>
            <p:nvPr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5" name="Oval 596"/>
            <p:cNvSpPr>
              <a:spLocks noChangeAspect="1" noChangeArrowheads="1"/>
            </p:cNvSpPr>
            <p:nvPr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6" name="Oval 597"/>
            <p:cNvSpPr>
              <a:spLocks noChangeAspect="1" noChangeArrowheads="1"/>
            </p:cNvSpPr>
            <p:nvPr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7" name="Oval 598"/>
            <p:cNvSpPr>
              <a:spLocks noChangeAspect="1" noChangeArrowheads="1"/>
            </p:cNvSpPr>
            <p:nvPr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8" name="Oval 599"/>
            <p:cNvSpPr>
              <a:spLocks noChangeAspect="1" noChangeArrowheads="1"/>
            </p:cNvSpPr>
            <p:nvPr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9" name="Oval 600"/>
            <p:cNvSpPr>
              <a:spLocks noChangeAspect="1" noChangeArrowheads="1"/>
            </p:cNvSpPr>
            <p:nvPr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0" name="Oval 601"/>
            <p:cNvSpPr>
              <a:spLocks noChangeAspect="1" noChangeArrowheads="1"/>
            </p:cNvSpPr>
            <p:nvPr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1" name="Oval 602"/>
            <p:cNvSpPr>
              <a:spLocks noChangeAspect="1" noChangeArrowheads="1"/>
            </p:cNvSpPr>
            <p:nvPr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2" name="Oval 603"/>
            <p:cNvSpPr>
              <a:spLocks noChangeAspect="1" noChangeArrowheads="1"/>
            </p:cNvSpPr>
            <p:nvPr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3" name="Oval 604"/>
            <p:cNvSpPr>
              <a:spLocks noChangeAspect="1" noChangeArrowheads="1"/>
            </p:cNvSpPr>
            <p:nvPr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4" name="Oval 605"/>
            <p:cNvSpPr>
              <a:spLocks noChangeAspect="1" noChangeArrowheads="1"/>
            </p:cNvSpPr>
            <p:nvPr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5" name="Oval 606"/>
            <p:cNvSpPr>
              <a:spLocks noChangeAspect="1" noChangeArrowheads="1"/>
            </p:cNvSpPr>
            <p:nvPr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6" name="Oval 607"/>
            <p:cNvSpPr>
              <a:spLocks noChangeAspect="1" noChangeArrowheads="1"/>
            </p:cNvSpPr>
            <p:nvPr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7" name="Oval 608"/>
            <p:cNvSpPr>
              <a:spLocks noChangeAspect="1" noChangeArrowheads="1"/>
            </p:cNvSpPr>
            <p:nvPr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8" name="Oval 609"/>
            <p:cNvSpPr>
              <a:spLocks noChangeAspect="1" noChangeArrowheads="1"/>
            </p:cNvSpPr>
            <p:nvPr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9" name="Oval 610"/>
            <p:cNvSpPr>
              <a:spLocks noChangeAspect="1" noChangeArrowheads="1"/>
            </p:cNvSpPr>
            <p:nvPr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0" name="Oval 611"/>
            <p:cNvSpPr>
              <a:spLocks noChangeAspect="1" noChangeArrowheads="1"/>
            </p:cNvSpPr>
            <p:nvPr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1" name="Oval 612"/>
            <p:cNvSpPr>
              <a:spLocks noChangeAspect="1" noChangeArrowheads="1"/>
            </p:cNvSpPr>
            <p:nvPr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2" name="Oval 613"/>
            <p:cNvSpPr>
              <a:spLocks noChangeAspect="1" noChangeArrowheads="1"/>
            </p:cNvSpPr>
            <p:nvPr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3" name="Oval 614"/>
            <p:cNvSpPr>
              <a:spLocks noChangeAspect="1" noChangeArrowheads="1"/>
            </p:cNvSpPr>
            <p:nvPr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4" name="Oval 615"/>
            <p:cNvSpPr>
              <a:spLocks noChangeAspect="1" noChangeArrowheads="1"/>
            </p:cNvSpPr>
            <p:nvPr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5" name="Oval 616"/>
            <p:cNvSpPr>
              <a:spLocks noChangeAspect="1" noChangeArrowheads="1"/>
            </p:cNvSpPr>
            <p:nvPr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6" name="Oval 617"/>
            <p:cNvSpPr>
              <a:spLocks noChangeAspect="1" noChangeArrowheads="1"/>
            </p:cNvSpPr>
            <p:nvPr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7" name="Oval 618"/>
            <p:cNvSpPr>
              <a:spLocks noChangeAspect="1" noChangeArrowheads="1"/>
            </p:cNvSpPr>
            <p:nvPr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8" name="Oval 619"/>
            <p:cNvSpPr>
              <a:spLocks noChangeAspect="1" noChangeArrowheads="1"/>
            </p:cNvSpPr>
            <p:nvPr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9" name="Oval 620"/>
            <p:cNvSpPr>
              <a:spLocks noChangeAspect="1" noChangeArrowheads="1"/>
            </p:cNvSpPr>
            <p:nvPr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0" name="Oval 621"/>
            <p:cNvSpPr>
              <a:spLocks noChangeAspect="1" noChangeArrowheads="1"/>
            </p:cNvSpPr>
            <p:nvPr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1" name="Oval 622"/>
            <p:cNvSpPr>
              <a:spLocks noChangeAspect="1" noChangeArrowheads="1"/>
            </p:cNvSpPr>
            <p:nvPr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2" name="Oval 623"/>
            <p:cNvSpPr>
              <a:spLocks noChangeAspect="1" noChangeArrowheads="1"/>
            </p:cNvSpPr>
            <p:nvPr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3" name="Oval 624"/>
            <p:cNvSpPr>
              <a:spLocks noChangeAspect="1" noChangeArrowheads="1"/>
            </p:cNvSpPr>
            <p:nvPr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4" name="Oval 625"/>
            <p:cNvSpPr>
              <a:spLocks noChangeAspect="1" noChangeArrowheads="1"/>
            </p:cNvSpPr>
            <p:nvPr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5" name="Oval 626"/>
            <p:cNvSpPr>
              <a:spLocks noChangeAspect="1" noChangeArrowheads="1"/>
            </p:cNvSpPr>
            <p:nvPr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6" name="Oval 627"/>
            <p:cNvSpPr>
              <a:spLocks noChangeAspect="1" noChangeArrowheads="1"/>
            </p:cNvSpPr>
            <p:nvPr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7" name="Oval 628"/>
            <p:cNvSpPr>
              <a:spLocks noChangeAspect="1" noChangeArrowheads="1"/>
            </p:cNvSpPr>
            <p:nvPr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8" name="Oval 629"/>
            <p:cNvSpPr>
              <a:spLocks noChangeAspect="1" noChangeArrowheads="1"/>
            </p:cNvSpPr>
            <p:nvPr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9" name="Oval 630"/>
            <p:cNvSpPr>
              <a:spLocks noChangeAspect="1" noChangeArrowheads="1"/>
            </p:cNvSpPr>
            <p:nvPr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0" name="Oval 631"/>
            <p:cNvSpPr>
              <a:spLocks noChangeAspect="1" noChangeArrowheads="1"/>
            </p:cNvSpPr>
            <p:nvPr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1" name="Oval 632"/>
            <p:cNvSpPr>
              <a:spLocks noChangeAspect="1" noChangeArrowheads="1"/>
            </p:cNvSpPr>
            <p:nvPr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2" name="Oval 633"/>
            <p:cNvSpPr>
              <a:spLocks noChangeAspect="1" noChangeArrowheads="1"/>
            </p:cNvSpPr>
            <p:nvPr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3" name="Oval 634"/>
            <p:cNvSpPr>
              <a:spLocks noChangeAspect="1" noChangeArrowheads="1"/>
            </p:cNvSpPr>
            <p:nvPr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4" name="Oval 635"/>
            <p:cNvSpPr>
              <a:spLocks noChangeAspect="1" noChangeArrowheads="1"/>
            </p:cNvSpPr>
            <p:nvPr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5" name="Oval 636"/>
            <p:cNvSpPr>
              <a:spLocks noChangeAspect="1" noChangeArrowheads="1"/>
            </p:cNvSpPr>
            <p:nvPr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6" name="Oval 637"/>
            <p:cNvSpPr>
              <a:spLocks noChangeAspect="1" noChangeArrowheads="1"/>
            </p:cNvSpPr>
            <p:nvPr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7" name="Oval 638"/>
            <p:cNvSpPr>
              <a:spLocks noChangeAspect="1" noChangeArrowheads="1"/>
            </p:cNvSpPr>
            <p:nvPr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8" name="Oval 639"/>
            <p:cNvSpPr>
              <a:spLocks noChangeAspect="1" noChangeArrowheads="1"/>
            </p:cNvSpPr>
            <p:nvPr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9" name="Oval 640"/>
            <p:cNvSpPr>
              <a:spLocks noChangeAspect="1" noChangeArrowheads="1"/>
            </p:cNvSpPr>
            <p:nvPr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0" name="Oval 641"/>
            <p:cNvSpPr>
              <a:spLocks noChangeAspect="1" noChangeArrowheads="1"/>
            </p:cNvSpPr>
            <p:nvPr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1" name="Oval 642"/>
            <p:cNvSpPr>
              <a:spLocks noChangeAspect="1" noChangeArrowheads="1"/>
            </p:cNvSpPr>
            <p:nvPr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2" name="Oval 643"/>
            <p:cNvSpPr>
              <a:spLocks noChangeAspect="1" noChangeArrowheads="1"/>
            </p:cNvSpPr>
            <p:nvPr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3" name="Oval 644"/>
            <p:cNvSpPr>
              <a:spLocks noChangeAspect="1" noChangeArrowheads="1"/>
            </p:cNvSpPr>
            <p:nvPr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4" name="Oval 645"/>
            <p:cNvSpPr>
              <a:spLocks noChangeAspect="1" noChangeArrowheads="1"/>
            </p:cNvSpPr>
            <p:nvPr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5" name="Oval 646"/>
            <p:cNvSpPr>
              <a:spLocks noChangeAspect="1" noChangeArrowheads="1"/>
            </p:cNvSpPr>
            <p:nvPr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6" name="Oval 647"/>
            <p:cNvSpPr>
              <a:spLocks noChangeAspect="1" noChangeArrowheads="1"/>
            </p:cNvSpPr>
            <p:nvPr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7" name="Oval 648"/>
            <p:cNvSpPr>
              <a:spLocks noChangeAspect="1" noChangeArrowheads="1"/>
            </p:cNvSpPr>
            <p:nvPr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8" name="Oval 649"/>
            <p:cNvSpPr>
              <a:spLocks noChangeAspect="1" noChangeArrowheads="1"/>
            </p:cNvSpPr>
            <p:nvPr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9" name="Oval 650"/>
            <p:cNvSpPr>
              <a:spLocks noChangeAspect="1" noChangeArrowheads="1"/>
            </p:cNvSpPr>
            <p:nvPr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0" name="Oval 651"/>
            <p:cNvSpPr>
              <a:spLocks noChangeAspect="1" noChangeArrowheads="1"/>
            </p:cNvSpPr>
            <p:nvPr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1" name="Oval 652"/>
            <p:cNvSpPr>
              <a:spLocks noChangeAspect="1" noChangeArrowheads="1"/>
            </p:cNvSpPr>
            <p:nvPr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2" name="Oval 653"/>
            <p:cNvSpPr>
              <a:spLocks noChangeAspect="1" noChangeArrowheads="1"/>
            </p:cNvSpPr>
            <p:nvPr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3" name="Oval 654"/>
            <p:cNvSpPr>
              <a:spLocks noChangeAspect="1" noChangeArrowheads="1"/>
            </p:cNvSpPr>
            <p:nvPr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4" name="Oval 655"/>
            <p:cNvSpPr>
              <a:spLocks noChangeAspect="1" noChangeArrowheads="1"/>
            </p:cNvSpPr>
            <p:nvPr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5" name="Oval 656"/>
            <p:cNvSpPr>
              <a:spLocks noChangeAspect="1" noChangeArrowheads="1"/>
            </p:cNvSpPr>
            <p:nvPr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6" name="Oval 657"/>
            <p:cNvSpPr>
              <a:spLocks noChangeAspect="1" noChangeArrowheads="1"/>
            </p:cNvSpPr>
            <p:nvPr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7" name="Oval 658"/>
            <p:cNvSpPr>
              <a:spLocks noChangeAspect="1" noChangeArrowheads="1"/>
            </p:cNvSpPr>
            <p:nvPr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8" name="Oval 659"/>
            <p:cNvSpPr>
              <a:spLocks noChangeAspect="1" noChangeArrowheads="1"/>
            </p:cNvSpPr>
            <p:nvPr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9" name="Oval 660"/>
            <p:cNvSpPr>
              <a:spLocks noChangeAspect="1" noChangeArrowheads="1"/>
            </p:cNvSpPr>
            <p:nvPr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0" name="Oval 661"/>
            <p:cNvSpPr>
              <a:spLocks noChangeAspect="1" noChangeArrowheads="1"/>
            </p:cNvSpPr>
            <p:nvPr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1" name="Oval 662"/>
            <p:cNvSpPr>
              <a:spLocks noChangeAspect="1" noChangeArrowheads="1"/>
            </p:cNvSpPr>
            <p:nvPr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2" name="Oval 663"/>
            <p:cNvSpPr>
              <a:spLocks noChangeAspect="1" noChangeArrowheads="1"/>
            </p:cNvSpPr>
            <p:nvPr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3" name="Oval 664"/>
            <p:cNvSpPr>
              <a:spLocks noChangeAspect="1" noChangeArrowheads="1"/>
            </p:cNvSpPr>
            <p:nvPr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4" name="Oval 665"/>
            <p:cNvSpPr>
              <a:spLocks noChangeAspect="1" noChangeArrowheads="1"/>
            </p:cNvSpPr>
            <p:nvPr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5" name="Oval 666"/>
            <p:cNvSpPr>
              <a:spLocks noChangeAspect="1" noChangeArrowheads="1"/>
            </p:cNvSpPr>
            <p:nvPr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6" name="Oval 667"/>
            <p:cNvSpPr>
              <a:spLocks noChangeAspect="1" noChangeArrowheads="1"/>
            </p:cNvSpPr>
            <p:nvPr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7" name="Oval 668"/>
            <p:cNvSpPr>
              <a:spLocks noChangeAspect="1" noChangeArrowheads="1"/>
            </p:cNvSpPr>
            <p:nvPr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8" name="Oval 669"/>
            <p:cNvSpPr>
              <a:spLocks noChangeAspect="1" noChangeArrowheads="1"/>
            </p:cNvSpPr>
            <p:nvPr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9" name="Oval 670"/>
            <p:cNvSpPr>
              <a:spLocks noChangeAspect="1" noChangeArrowheads="1"/>
            </p:cNvSpPr>
            <p:nvPr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0" name="Oval 671"/>
            <p:cNvSpPr>
              <a:spLocks noChangeAspect="1" noChangeArrowheads="1"/>
            </p:cNvSpPr>
            <p:nvPr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1" name="Oval 672"/>
            <p:cNvSpPr>
              <a:spLocks noChangeAspect="1" noChangeArrowheads="1"/>
            </p:cNvSpPr>
            <p:nvPr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2" name="Oval 673"/>
            <p:cNvSpPr>
              <a:spLocks noChangeAspect="1" noChangeArrowheads="1"/>
            </p:cNvSpPr>
            <p:nvPr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3" name="Oval 674"/>
            <p:cNvSpPr>
              <a:spLocks noChangeAspect="1" noChangeArrowheads="1"/>
            </p:cNvSpPr>
            <p:nvPr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4" name="Oval 675"/>
            <p:cNvSpPr>
              <a:spLocks noChangeAspect="1" noChangeArrowheads="1"/>
            </p:cNvSpPr>
            <p:nvPr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5" name="Oval 676"/>
            <p:cNvSpPr>
              <a:spLocks noChangeAspect="1" noChangeArrowheads="1"/>
            </p:cNvSpPr>
            <p:nvPr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6" name="Oval 677"/>
            <p:cNvSpPr>
              <a:spLocks noChangeAspect="1" noChangeArrowheads="1"/>
            </p:cNvSpPr>
            <p:nvPr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7" name="Oval 678"/>
            <p:cNvSpPr>
              <a:spLocks noChangeAspect="1" noChangeArrowheads="1"/>
            </p:cNvSpPr>
            <p:nvPr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8" name="Oval 679"/>
            <p:cNvSpPr>
              <a:spLocks noChangeAspect="1" noChangeArrowheads="1"/>
            </p:cNvSpPr>
            <p:nvPr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9" name="Oval 680"/>
            <p:cNvSpPr>
              <a:spLocks noChangeAspect="1" noChangeArrowheads="1"/>
            </p:cNvSpPr>
            <p:nvPr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0" name="Oval 681"/>
            <p:cNvSpPr>
              <a:spLocks noChangeAspect="1" noChangeArrowheads="1"/>
            </p:cNvSpPr>
            <p:nvPr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1" name="Oval 682"/>
            <p:cNvSpPr>
              <a:spLocks noChangeAspect="1" noChangeArrowheads="1"/>
            </p:cNvSpPr>
            <p:nvPr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2" name="Oval 683"/>
            <p:cNvSpPr>
              <a:spLocks noChangeAspect="1" noChangeArrowheads="1"/>
            </p:cNvSpPr>
            <p:nvPr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3" name="Oval 684"/>
            <p:cNvSpPr>
              <a:spLocks noChangeAspect="1" noChangeArrowheads="1"/>
            </p:cNvSpPr>
            <p:nvPr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4" name="Oval 685"/>
            <p:cNvSpPr>
              <a:spLocks noChangeAspect="1" noChangeArrowheads="1"/>
            </p:cNvSpPr>
            <p:nvPr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5" name="Oval 686"/>
            <p:cNvSpPr>
              <a:spLocks noChangeAspect="1" noChangeArrowheads="1"/>
            </p:cNvSpPr>
            <p:nvPr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6" name="Oval 687"/>
            <p:cNvSpPr>
              <a:spLocks noChangeAspect="1" noChangeArrowheads="1"/>
            </p:cNvSpPr>
            <p:nvPr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7" name="Oval 688"/>
            <p:cNvSpPr>
              <a:spLocks noChangeAspect="1" noChangeArrowheads="1"/>
            </p:cNvSpPr>
            <p:nvPr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8" name="Oval 689"/>
            <p:cNvSpPr>
              <a:spLocks noChangeAspect="1" noChangeArrowheads="1"/>
            </p:cNvSpPr>
            <p:nvPr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9" name="Oval 690"/>
            <p:cNvSpPr>
              <a:spLocks noChangeAspect="1" noChangeArrowheads="1"/>
            </p:cNvSpPr>
            <p:nvPr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0" name="Oval 691"/>
            <p:cNvSpPr>
              <a:spLocks noChangeAspect="1" noChangeArrowheads="1"/>
            </p:cNvSpPr>
            <p:nvPr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1" name="Oval 692"/>
            <p:cNvSpPr>
              <a:spLocks noChangeAspect="1" noChangeArrowheads="1"/>
            </p:cNvSpPr>
            <p:nvPr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2" name="Oval 693"/>
            <p:cNvSpPr>
              <a:spLocks noChangeAspect="1" noChangeArrowheads="1"/>
            </p:cNvSpPr>
            <p:nvPr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3" name="Oval 694"/>
            <p:cNvSpPr>
              <a:spLocks noChangeAspect="1" noChangeArrowheads="1"/>
            </p:cNvSpPr>
            <p:nvPr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4" name="Oval 695"/>
            <p:cNvSpPr>
              <a:spLocks noChangeAspect="1" noChangeArrowheads="1"/>
            </p:cNvSpPr>
            <p:nvPr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5" name="Oval 696"/>
            <p:cNvSpPr>
              <a:spLocks noChangeAspect="1" noChangeArrowheads="1"/>
            </p:cNvSpPr>
            <p:nvPr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6" name="Oval 697"/>
            <p:cNvSpPr>
              <a:spLocks noChangeAspect="1" noChangeArrowheads="1"/>
            </p:cNvSpPr>
            <p:nvPr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7" name="Oval 698"/>
            <p:cNvSpPr>
              <a:spLocks noChangeAspect="1" noChangeArrowheads="1"/>
            </p:cNvSpPr>
            <p:nvPr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8" name="Oval 699"/>
            <p:cNvSpPr>
              <a:spLocks noChangeAspect="1" noChangeArrowheads="1"/>
            </p:cNvSpPr>
            <p:nvPr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9" name="Oval 700"/>
            <p:cNvSpPr>
              <a:spLocks noChangeAspect="1" noChangeArrowheads="1"/>
            </p:cNvSpPr>
            <p:nvPr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0" name="Oval 701"/>
            <p:cNvSpPr>
              <a:spLocks noChangeAspect="1" noChangeArrowheads="1"/>
            </p:cNvSpPr>
            <p:nvPr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1" name="Oval 702"/>
            <p:cNvSpPr>
              <a:spLocks noChangeAspect="1" noChangeArrowheads="1"/>
            </p:cNvSpPr>
            <p:nvPr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2" name="Oval 703"/>
            <p:cNvSpPr>
              <a:spLocks noChangeAspect="1" noChangeArrowheads="1"/>
            </p:cNvSpPr>
            <p:nvPr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3" name="Oval 704"/>
            <p:cNvSpPr>
              <a:spLocks noChangeAspect="1" noChangeArrowheads="1"/>
            </p:cNvSpPr>
            <p:nvPr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4" name="Oval 705"/>
            <p:cNvSpPr>
              <a:spLocks noChangeAspect="1" noChangeArrowheads="1"/>
            </p:cNvSpPr>
            <p:nvPr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5" name="Oval 706"/>
            <p:cNvSpPr>
              <a:spLocks noChangeAspect="1" noChangeArrowheads="1"/>
            </p:cNvSpPr>
            <p:nvPr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6" name="Oval 707"/>
            <p:cNvSpPr>
              <a:spLocks noChangeAspect="1" noChangeArrowheads="1"/>
            </p:cNvSpPr>
            <p:nvPr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7" name="Oval 708"/>
            <p:cNvSpPr>
              <a:spLocks noChangeAspect="1" noChangeArrowheads="1"/>
            </p:cNvSpPr>
            <p:nvPr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8" name="Oval 709"/>
            <p:cNvSpPr>
              <a:spLocks noChangeAspect="1" noChangeArrowheads="1"/>
            </p:cNvSpPr>
            <p:nvPr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9" name="Oval 710"/>
            <p:cNvSpPr>
              <a:spLocks noChangeAspect="1" noChangeArrowheads="1"/>
            </p:cNvSpPr>
            <p:nvPr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0" name="Oval 711"/>
            <p:cNvSpPr>
              <a:spLocks noChangeAspect="1" noChangeArrowheads="1"/>
            </p:cNvSpPr>
            <p:nvPr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1" name="Oval 712"/>
            <p:cNvSpPr>
              <a:spLocks noChangeAspect="1" noChangeArrowheads="1"/>
            </p:cNvSpPr>
            <p:nvPr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2" name="Oval 713"/>
            <p:cNvSpPr>
              <a:spLocks noChangeAspect="1" noChangeArrowheads="1"/>
            </p:cNvSpPr>
            <p:nvPr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3" name="Oval 714"/>
            <p:cNvSpPr>
              <a:spLocks noChangeAspect="1" noChangeArrowheads="1"/>
            </p:cNvSpPr>
            <p:nvPr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4" name="Oval 715"/>
            <p:cNvSpPr>
              <a:spLocks noChangeAspect="1" noChangeArrowheads="1"/>
            </p:cNvSpPr>
            <p:nvPr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5" name="Oval 716"/>
            <p:cNvSpPr>
              <a:spLocks noChangeAspect="1" noChangeArrowheads="1"/>
            </p:cNvSpPr>
            <p:nvPr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6" name="Oval 717"/>
            <p:cNvSpPr>
              <a:spLocks noChangeAspect="1" noChangeArrowheads="1"/>
            </p:cNvSpPr>
            <p:nvPr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7" name="Oval 718"/>
            <p:cNvSpPr>
              <a:spLocks noChangeAspect="1" noChangeArrowheads="1"/>
            </p:cNvSpPr>
            <p:nvPr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8" name="Oval 719"/>
            <p:cNvSpPr>
              <a:spLocks noChangeAspect="1" noChangeArrowheads="1"/>
            </p:cNvSpPr>
            <p:nvPr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9" name="Oval 720"/>
            <p:cNvSpPr>
              <a:spLocks noChangeAspect="1" noChangeArrowheads="1"/>
            </p:cNvSpPr>
            <p:nvPr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0" name="Oval 721"/>
            <p:cNvSpPr>
              <a:spLocks noChangeAspect="1" noChangeArrowheads="1"/>
            </p:cNvSpPr>
            <p:nvPr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1" name="Oval 722"/>
            <p:cNvSpPr>
              <a:spLocks noChangeAspect="1" noChangeArrowheads="1"/>
            </p:cNvSpPr>
            <p:nvPr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2" name="Oval 723"/>
            <p:cNvSpPr>
              <a:spLocks noChangeAspect="1" noChangeArrowheads="1"/>
            </p:cNvSpPr>
            <p:nvPr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3" name="Oval 724"/>
            <p:cNvSpPr>
              <a:spLocks noChangeAspect="1" noChangeArrowheads="1"/>
            </p:cNvSpPr>
            <p:nvPr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4" name="Oval 725"/>
            <p:cNvSpPr>
              <a:spLocks noChangeAspect="1" noChangeArrowheads="1"/>
            </p:cNvSpPr>
            <p:nvPr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5" name="Oval 726"/>
            <p:cNvSpPr>
              <a:spLocks noChangeAspect="1" noChangeArrowheads="1"/>
            </p:cNvSpPr>
            <p:nvPr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6" name="Oval 727"/>
            <p:cNvSpPr>
              <a:spLocks noChangeAspect="1" noChangeArrowheads="1"/>
            </p:cNvSpPr>
            <p:nvPr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7" name="Oval 728"/>
            <p:cNvSpPr>
              <a:spLocks noChangeAspect="1" noChangeArrowheads="1"/>
            </p:cNvSpPr>
            <p:nvPr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8" name="Oval 729"/>
            <p:cNvSpPr>
              <a:spLocks noChangeAspect="1" noChangeArrowheads="1"/>
            </p:cNvSpPr>
            <p:nvPr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9" name="Oval 730"/>
            <p:cNvSpPr>
              <a:spLocks noChangeAspect="1" noChangeArrowheads="1"/>
            </p:cNvSpPr>
            <p:nvPr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0" name="Oval 731"/>
            <p:cNvSpPr>
              <a:spLocks noChangeAspect="1" noChangeArrowheads="1"/>
            </p:cNvSpPr>
            <p:nvPr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1" name="Oval 732"/>
            <p:cNvSpPr>
              <a:spLocks noChangeAspect="1" noChangeArrowheads="1"/>
            </p:cNvSpPr>
            <p:nvPr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2" name="Oval 733"/>
            <p:cNvSpPr>
              <a:spLocks noChangeAspect="1" noChangeArrowheads="1"/>
            </p:cNvSpPr>
            <p:nvPr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3" name="Oval 734"/>
            <p:cNvSpPr>
              <a:spLocks noChangeAspect="1" noChangeArrowheads="1"/>
            </p:cNvSpPr>
            <p:nvPr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4" name="Oval 735"/>
            <p:cNvSpPr>
              <a:spLocks noChangeAspect="1" noChangeArrowheads="1"/>
            </p:cNvSpPr>
            <p:nvPr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5" name="Oval 736"/>
            <p:cNvSpPr>
              <a:spLocks noChangeAspect="1" noChangeArrowheads="1"/>
            </p:cNvSpPr>
            <p:nvPr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6" name="Oval 737"/>
            <p:cNvSpPr>
              <a:spLocks noChangeAspect="1" noChangeArrowheads="1"/>
            </p:cNvSpPr>
            <p:nvPr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7" name="Oval 738"/>
            <p:cNvSpPr>
              <a:spLocks noChangeAspect="1" noChangeArrowheads="1"/>
            </p:cNvSpPr>
            <p:nvPr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8" name="Oval 739"/>
            <p:cNvSpPr>
              <a:spLocks noChangeAspect="1" noChangeArrowheads="1"/>
            </p:cNvSpPr>
            <p:nvPr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9" name="Oval 740"/>
            <p:cNvSpPr>
              <a:spLocks noChangeAspect="1" noChangeArrowheads="1"/>
            </p:cNvSpPr>
            <p:nvPr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0" name="Oval 741"/>
            <p:cNvSpPr>
              <a:spLocks noChangeAspect="1" noChangeArrowheads="1"/>
            </p:cNvSpPr>
            <p:nvPr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1" name="Oval 742"/>
            <p:cNvSpPr>
              <a:spLocks noChangeAspect="1" noChangeArrowheads="1"/>
            </p:cNvSpPr>
            <p:nvPr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2" name="Oval 743"/>
            <p:cNvSpPr>
              <a:spLocks noChangeAspect="1" noChangeArrowheads="1"/>
            </p:cNvSpPr>
            <p:nvPr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3" name="Oval 744"/>
            <p:cNvSpPr>
              <a:spLocks noChangeAspect="1" noChangeArrowheads="1"/>
            </p:cNvSpPr>
            <p:nvPr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4" name="Oval 745"/>
            <p:cNvSpPr>
              <a:spLocks noChangeAspect="1" noChangeArrowheads="1"/>
            </p:cNvSpPr>
            <p:nvPr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5" name="Oval 746"/>
            <p:cNvSpPr>
              <a:spLocks noChangeAspect="1" noChangeArrowheads="1"/>
            </p:cNvSpPr>
            <p:nvPr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6" name="Oval 747"/>
            <p:cNvSpPr>
              <a:spLocks noChangeAspect="1" noChangeArrowheads="1"/>
            </p:cNvSpPr>
            <p:nvPr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7" name="Oval 748"/>
            <p:cNvSpPr>
              <a:spLocks noChangeAspect="1" noChangeArrowheads="1"/>
            </p:cNvSpPr>
            <p:nvPr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8" name="Oval 749"/>
            <p:cNvSpPr>
              <a:spLocks noChangeAspect="1" noChangeArrowheads="1"/>
            </p:cNvSpPr>
            <p:nvPr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9" name="Oval 750"/>
            <p:cNvSpPr>
              <a:spLocks noChangeAspect="1" noChangeArrowheads="1"/>
            </p:cNvSpPr>
            <p:nvPr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0" name="Oval 751"/>
            <p:cNvSpPr>
              <a:spLocks noChangeAspect="1" noChangeArrowheads="1"/>
            </p:cNvSpPr>
            <p:nvPr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1" name="Oval 752"/>
            <p:cNvSpPr>
              <a:spLocks noChangeAspect="1" noChangeArrowheads="1"/>
            </p:cNvSpPr>
            <p:nvPr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2" name="Oval 753"/>
            <p:cNvSpPr>
              <a:spLocks noChangeAspect="1" noChangeArrowheads="1"/>
            </p:cNvSpPr>
            <p:nvPr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3" name="Oval 754"/>
            <p:cNvSpPr>
              <a:spLocks noChangeAspect="1" noChangeArrowheads="1"/>
            </p:cNvSpPr>
            <p:nvPr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4" name="Oval 755"/>
            <p:cNvSpPr>
              <a:spLocks noChangeAspect="1" noChangeArrowheads="1"/>
            </p:cNvSpPr>
            <p:nvPr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5" name="Oval 756"/>
            <p:cNvSpPr>
              <a:spLocks noChangeAspect="1" noChangeArrowheads="1"/>
            </p:cNvSpPr>
            <p:nvPr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6" name="Oval 757"/>
            <p:cNvSpPr>
              <a:spLocks noChangeAspect="1" noChangeArrowheads="1"/>
            </p:cNvSpPr>
            <p:nvPr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7" name="Oval 758"/>
            <p:cNvSpPr>
              <a:spLocks noChangeAspect="1" noChangeArrowheads="1"/>
            </p:cNvSpPr>
            <p:nvPr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8" name="Oval 759"/>
            <p:cNvSpPr>
              <a:spLocks noChangeAspect="1" noChangeArrowheads="1"/>
            </p:cNvSpPr>
            <p:nvPr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9" name="Oval 760"/>
            <p:cNvSpPr>
              <a:spLocks noChangeAspect="1" noChangeArrowheads="1"/>
            </p:cNvSpPr>
            <p:nvPr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0" name="Oval 761"/>
            <p:cNvSpPr>
              <a:spLocks noChangeAspect="1" noChangeArrowheads="1"/>
            </p:cNvSpPr>
            <p:nvPr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1" name="Oval 762"/>
            <p:cNvSpPr>
              <a:spLocks noChangeAspect="1" noChangeArrowheads="1"/>
            </p:cNvSpPr>
            <p:nvPr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2" name="Oval 763"/>
            <p:cNvSpPr>
              <a:spLocks noChangeAspect="1" noChangeArrowheads="1"/>
            </p:cNvSpPr>
            <p:nvPr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3" name="Oval 764"/>
            <p:cNvSpPr>
              <a:spLocks noChangeAspect="1" noChangeArrowheads="1"/>
            </p:cNvSpPr>
            <p:nvPr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4" name="Oval 765"/>
            <p:cNvSpPr>
              <a:spLocks noChangeAspect="1" noChangeArrowheads="1"/>
            </p:cNvSpPr>
            <p:nvPr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5" name="Oval 766"/>
            <p:cNvSpPr>
              <a:spLocks noChangeAspect="1" noChangeArrowheads="1"/>
            </p:cNvSpPr>
            <p:nvPr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6" name="Oval 767"/>
            <p:cNvSpPr>
              <a:spLocks noChangeAspect="1" noChangeArrowheads="1"/>
            </p:cNvSpPr>
            <p:nvPr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7" name="Oval 768"/>
            <p:cNvSpPr>
              <a:spLocks noChangeAspect="1" noChangeArrowheads="1"/>
            </p:cNvSpPr>
            <p:nvPr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8" name="Oval 769"/>
            <p:cNvSpPr>
              <a:spLocks noChangeAspect="1" noChangeArrowheads="1"/>
            </p:cNvSpPr>
            <p:nvPr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9" name="Oval 770"/>
            <p:cNvSpPr>
              <a:spLocks noChangeAspect="1" noChangeArrowheads="1"/>
            </p:cNvSpPr>
            <p:nvPr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0" name="Oval 771"/>
            <p:cNvSpPr>
              <a:spLocks noChangeAspect="1" noChangeArrowheads="1"/>
            </p:cNvSpPr>
            <p:nvPr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1" name="Oval 772"/>
            <p:cNvSpPr>
              <a:spLocks noChangeAspect="1" noChangeArrowheads="1"/>
            </p:cNvSpPr>
            <p:nvPr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2" name="Oval 773"/>
            <p:cNvSpPr>
              <a:spLocks noChangeAspect="1" noChangeArrowheads="1"/>
            </p:cNvSpPr>
            <p:nvPr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3" name="Oval 774"/>
            <p:cNvSpPr>
              <a:spLocks noChangeAspect="1" noChangeArrowheads="1"/>
            </p:cNvSpPr>
            <p:nvPr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4" name="Oval 775"/>
            <p:cNvSpPr>
              <a:spLocks noChangeAspect="1" noChangeArrowheads="1"/>
            </p:cNvSpPr>
            <p:nvPr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5" name="Oval 776"/>
            <p:cNvSpPr>
              <a:spLocks noChangeAspect="1" noChangeArrowheads="1"/>
            </p:cNvSpPr>
            <p:nvPr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6" name="Oval 777"/>
            <p:cNvSpPr>
              <a:spLocks noChangeAspect="1" noChangeArrowheads="1"/>
            </p:cNvSpPr>
            <p:nvPr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7" name="Oval 778"/>
            <p:cNvSpPr>
              <a:spLocks noChangeAspect="1" noChangeArrowheads="1"/>
            </p:cNvSpPr>
            <p:nvPr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8" name="Oval 779"/>
            <p:cNvSpPr>
              <a:spLocks noChangeAspect="1" noChangeArrowheads="1"/>
            </p:cNvSpPr>
            <p:nvPr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9" name="Oval 780"/>
            <p:cNvSpPr>
              <a:spLocks noChangeAspect="1" noChangeArrowheads="1"/>
            </p:cNvSpPr>
            <p:nvPr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0" name="Oval 781"/>
            <p:cNvSpPr>
              <a:spLocks noChangeAspect="1" noChangeArrowheads="1"/>
            </p:cNvSpPr>
            <p:nvPr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1" name="Oval 782"/>
            <p:cNvSpPr>
              <a:spLocks noChangeAspect="1" noChangeArrowheads="1"/>
            </p:cNvSpPr>
            <p:nvPr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2" name="Oval 783"/>
            <p:cNvSpPr>
              <a:spLocks noChangeAspect="1" noChangeArrowheads="1"/>
            </p:cNvSpPr>
            <p:nvPr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3" name="Oval 784"/>
            <p:cNvSpPr>
              <a:spLocks noChangeAspect="1" noChangeArrowheads="1"/>
            </p:cNvSpPr>
            <p:nvPr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4" name="Oval 785"/>
            <p:cNvSpPr>
              <a:spLocks noChangeAspect="1" noChangeArrowheads="1"/>
            </p:cNvSpPr>
            <p:nvPr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5" name="Oval 786"/>
            <p:cNvSpPr>
              <a:spLocks noChangeAspect="1" noChangeArrowheads="1"/>
            </p:cNvSpPr>
            <p:nvPr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6" name="Oval 787"/>
            <p:cNvSpPr>
              <a:spLocks noChangeAspect="1" noChangeArrowheads="1"/>
            </p:cNvSpPr>
            <p:nvPr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7" name="Oval 788"/>
            <p:cNvSpPr>
              <a:spLocks noChangeAspect="1" noChangeArrowheads="1"/>
            </p:cNvSpPr>
            <p:nvPr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8" name="Oval 789"/>
            <p:cNvSpPr>
              <a:spLocks noChangeAspect="1" noChangeArrowheads="1"/>
            </p:cNvSpPr>
            <p:nvPr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9" name="Oval 790"/>
            <p:cNvSpPr>
              <a:spLocks noChangeAspect="1" noChangeArrowheads="1"/>
            </p:cNvSpPr>
            <p:nvPr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0" name="Oval 791"/>
            <p:cNvSpPr>
              <a:spLocks noChangeAspect="1" noChangeArrowheads="1"/>
            </p:cNvSpPr>
            <p:nvPr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1" name="Oval 792"/>
            <p:cNvSpPr>
              <a:spLocks noChangeAspect="1" noChangeArrowheads="1"/>
            </p:cNvSpPr>
            <p:nvPr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2" name="Oval 793"/>
            <p:cNvSpPr>
              <a:spLocks noChangeAspect="1" noChangeArrowheads="1"/>
            </p:cNvSpPr>
            <p:nvPr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3" name="Oval 794"/>
            <p:cNvSpPr>
              <a:spLocks noChangeAspect="1" noChangeArrowheads="1"/>
            </p:cNvSpPr>
            <p:nvPr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4" name="Oval 795"/>
            <p:cNvSpPr>
              <a:spLocks noChangeAspect="1" noChangeArrowheads="1"/>
            </p:cNvSpPr>
            <p:nvPr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5" name="Oval 796"/>
            <p:cNvSpPr>
              <a:spLocks noChangeAspect="1" noChangeArrowheads="1"/>
            </p:cNvSpPr>
            <p:nvPr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6" name="Oval 797"/>
            <p:cNvSpPr>
              <a:spLocks noChangeAspect="1" noChangeArrowheads="1"/>
            </p:cNvSpPr>
            <p:nvPr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7" name="Oval 798"/>
            <p:cNvSpPr>
              <a:spLocks noChangeAspect="1" noChangeArrowheads="1"/>
            </p:cNvSpPr>
            <p:nvPr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8" name="Oval 799"/>
            <p:cNvSpPr>
              <a:spLocks noChangeAspect="1" noChangeArrowheads="1"/>
            </p:cNvSpPr>
            <p:nvPr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9" name="Oval 800"/>
            <p:cNvSpPr>
              <a:spLocks noChangeAspect="1" noChangeArrowheads="1"/>
            </p:cNvSpPr>
            <p:nvPr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0" name="Oval 801"/>
            <p:cNvSpPr>
              <a:spLocks noChangeAspect="1" noChangeArrowheads="1"/>
            </p:cNvSpPr>
            <p:nvPr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1" name="Oval 802"/>
            <p:cNvSpPr>
              <a:spLocks noChangeAspect="1" noChangeArrowheads="1"/>
            </p:cNvSpPr>
            <p:nvPr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2" name="Oval 803"/>
            <p:cNvSpPr>
              <a:spLocks noChangeAspect="1" noChangeArrowheads="1"/>
            </p:cNvSpPr>
            <p:nvPr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3" name="Oval 804"/>
            <p:cNvSpPr>
              <a:spLocks noChangeAspect="1" noChangeArrowheads="1"/>
            </p:cNvSpPr>
            <p:nvPr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4" name="Oval 805"/>
            <p:cNvSpPr>
              <a:spLocks noChangeAspect="1" noChangeArrowheads="1"/>
            </p:cNvSpPr>
            <p:nvPr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5" name="Oval 806"/>
            <p:cNvSpPr>
              <a:spLocks noChangeAspect="1" noChangeArrowheads="1"/>
            </p:cNvSpPr>
            <p:nvPr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6" name="Oval 807"/>
            <p:cNvSpPr>
              <a:spLocks noChangeAspect="1" noChangeArrowheads="1"/>
            </p:cNvSpPr>
            <p:nvPr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7" name="Oval 808"/>
            <p:cNvSpPr>
              <a:spLocks noChangeAspect="1" noChangeArrowheads="1"/>
            </p:cNvSpPr>
            <p:nvPr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8" name="Oval 809"/>
            <p:cNvSpPr>
              <a:spLocks noChangeAspect="1" noChangeArrowheads="1"/>
            </p:cNvSpPr>
            <p:nvPr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9" name="Oval 810"/>
            <p:cNvSpPr>
              <a:spLocks noChangeAspect="1" noChangeArrowheads="1"/>
            </p:cNvSpPr>
            <p:nvPr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0" name="Oval 811"/>
            <p:cNvSpPr>
              <a:spLocks noChangeAspect="1" noChangeArrowheads="1"/>
            </p:cNvSpPr>
            <p:nvPr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1" name="Oval 812"/>
            <p:cNvSpPr>
              <a:spLocks noChangeAspect="1" noChangeArrowheads="1"/>
            </p:cNvSpPr>
            <p:nvPr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2" name="Oval 813"/>
            <p:cNvSpPr>
              <a:spLocks noChangeAspect="1" noChangeArrowheads="1"/>
            </p:cNvSpPr>
            <p:nvPr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3" name="Oval 814"/>
            <p:cNvSpPr>
              <a:spLocks noChangeAspect="1" noChangeArrowheads="1"/>
            </p:cNvSpPr>
            <p:nvPr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4" name="Oval 815"/>
            <p:cNvSpPr>
              <a:spLocks noChangeAspect="1" noChangeArrowheads="1"/>
            </p:cNvSpPr>
            <p:nvPr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5" name="Oval 816"/>
            <p:cNvSpPr>
              <a:spLocks noChangeAspect="1" noChangeArrowheads="1"/>
            </p:cNvSpPr>
            <p:nvPr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6" name="Oval 817"/>
            <p:cNvSpPr>
              <a:spLocks noChangeAspect="1" noChangeArrowheads="1"/>
            </p:cNvSpPr>
            <p:nvPr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7" name="Oval 818"/>
            <p:cNvSpPr>
              <a:spLocks noChangeAspect="1" noChangeArrowheads="1"/>
            </p:cNvSpPr>
            <p:nvPr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8" name="Oval 819"/>
            <p:cNvSpPr>
              <a:spLocks noChangeAspect="1" noChangeArrowheads="1"/>
            </p:cNvSpPr>
            <p:nvPr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9" name="Oval 820"/>
            <p:cNvSpPr>
              <a:spLocks noChangeAspect="1" noChangeArrowheads="1"/>
            </p:cNvSpPr>
            <p:nvPr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0" name="Oval 821"/>
            <p:cNvSpPr>
              <a:spLocks noChangeAspect="1" noChangeArrowheads="1"/>
            </p:cNvSpPr>
            <p:nvPr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1" name="Oval 822"/>
            <p:cNvSpPr>
              <a:spLocks noChangeAspect="1" noChangeArrowheads="1"/>
            </p:cNvSpPr>
            <p:nvPr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2" name="Oval 823"/>
            <p:cNvSpPr>
              <a:spLocks noChangeAspect="1" noChangeArrowheads="1"/>
            </p:cNvSpPr>
            <p:nvPr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3" name="Oval 824"/>
            <p:cNvSpPr>
              <a:spLocks noChangeAspect="1" noChangeArrowheads="1"/>
            </p:cNvSpPr>
            <p:nvPr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4" name="Oval 825"/>
            <p:cNvSpPr>
              <a:spLocks noChangeAspect="1" noChangeArrowheads="1"/>
            </p:cNvSpPr>
            <p:nvPr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5" name="Oval 826"/>
            <p:cNvSpPr>
              <a:spLocks noChangeAspect="1" noChangeArrowheads="1"/>
            </p:cNvSpPr>
            <p:nvPr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6" name="Oval 827"/>
            <p:cNvSpPr>
              <a:spLocks noChangeAspect="1" noChangeArrowheads="1"/>
            </p:cNvSpPr>
            <p:nvPr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7" name="Oval 828"/>
            <p:cNvSpPr>
              <a:spLocks noChangeAspect="1" noChangeArrowheads="1"/>
            </p:cNvSpPr>
            <p:nvPr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8" name="Oval 829"/>
            <p:cNvSpPr>
              <a:spLocks noChangeAspect="1" noChangeArrowheads="1"/>
            </p:cNvSpPr>
            <p:nvPr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9" name="Oval 830"/>
            <p:cNvSpPr>
              <a:spLocks noChangeAspect="1" noChangeArrowheads="1"/>
            </p:cNvSpPr>
            <p:nvPr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0" name="Oval 831"/>
            <p:cNvSpPr>
              <a:spLocks noChangeAspect="1" noChangeArrowheads="1"/>
            </p:cNvSpPr>
            <p:nvPr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1" name="Oval 832"/>
            <p:cNvSpPr>
              <a:spLocks noChangeAspect="1" noChangeArrowheads="1"/>
            </p:cNvSpPr>
            <p:nvPr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2" name="Oval 833"/>
            <p:cNvSpPr>
              <a:spLocks noChangeAspect="1" noChangeArrowheads="1"/>
            </p:cNvSpPr>
            <p:nvPr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3" name="Oval 834"/>
            <p:cNvSpPr>
              <a:spLocks noChangeAspect="1" noChangeArrowheads="1"/>
            </p:cNvSpPr>
            <p:nvPr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4" name="Oval 835"/>
            <p:cNvSpPr>
              <a:spLocks noChangeAspect="1" noChangeArrowheads="1"/>
            </p:cNvSpPr>
            <p:nvPr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5" name="Oval 836"/>
            <p:cNvSpPr>
              <a:spLocks noChangeAspect="1" noChangeArrowheads="1"/>
            </p:cNvSpPr>
            <p:nvPr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6" name="Oval 837"/>
            <p:cNvSpPr>
              <a:spLocks noChangeAspect="1" noChangeArrowheads="1"/>
            </p:cNvSpPr>
            <p:nvPr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7" name="Oval 838"/>
            <p:cNvSpPr>
              <a:spLocks noChangeAspect="1" noChangeArrowheads="1"/>
            </p:cNvSpPr>
            <p:nvPr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8" name="Oval 839"/>
            <p:cNvSpPr>
              <a:spLocks noChangeAspect="1" noChangeArrowheads="1"/>
            </p:cNvSpPr>
            <p:nvPr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9" name="Oval 840"/>
            <p:cNvSpPr>
              <a:spLocks noChangeAspect="1" noChangeArrowheads="1"/>
            </p:cNvSpPr>
            <p:nvPr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0" name="Oval 841"/>
            <p:cNvSpPr>
              <a:spLocks noChangeAspect="1" noChangeArrowheads="1"/>
            </p:cNvSpPr>
            <p:nvPr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1" name="Oval 842"/>
            <p:cNvSpPr>
              <a:spLocks noChangeAspect="1" noChangeArrowheads="1"/>
            </p:cNvSpPr>
            <p:nvPr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2" name="Oval 843"/>
            <p:cNvSpPr>
              <a:spLocks noChangeAspect="1" noChangeArrowheads="1"/>
            </p:cNvSpPr>
            <p:nvPr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3" name="Oval 844"/>
            <p:cNvSpPr>
              <a:spLocks noChangeAspect="1" noChangeArrowheads="1"/>
            </p:cNvSpPr>
            <p:nvPr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4" name="Oval 845"/>
            <p:cNvSpPr>
              <a:spLocks noChangeAspect="1" noChangeArrowheads="1"/>
            </p:cNvSpPr>
            <p:nvPr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5" name="Oval 846"/>
            <p:cNvSpPr>
              <a:spLocks noChangeAspect="1" noChangeArrowheads="1"/>
            </p:cNvSpPr>
            <p:nvPr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6" name="Oval 847"/>
            <p:cNvSpPr>
              <a:spLocks noChangeAspect="1" noChangeArrowheads="1"/>
            </p:cNvSpPr>
            <p:nvPr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7" name="Oval 848"/>
            <p:cNvSpPr>
              <a:spLocks noChangeAspect="1" noChangeArrowheads="1"/>
            </p:cNvSpPr>
            <p:nvPr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8" name="Oval 849"/>
            <p:cNvSpPr>
              <a:spLocks noChangeAspect="1" noChangeArrowheads="1"/>
            </p:cNvSpPr>
            <p:nvPr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9" name="Oval 850"/>
            <p:cNvSpPr>
              <a:spLocks noChangeAspect="1" noChangeArrowheads="1"/>
            </p:cNvSpPr>
            <p:nvPr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0" name="Oval 851"/>
            <p:cNvSpPr>
              <a:spLocks noChangeAspect="1" noChangeArrowheads="1"/>
            </p:cNvSpPr>
            <p:nvPr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1" name="Oval 852"/>
            <p:cNvSpPr>
              <a:spLocks noChangeAspect="1" noChangeArrowheads="1"/>
            </p:cNvSpPr>
            <p:nvPr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2" name="Oval 853"/>
            <p:cNvSpPr>
              <a:spLocks noChangeAspect="1" noChangeArrowheads="1"/>
            </p:cNvSpPr>
            <p:nvPr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3" name="Oval 854"/>
            <p:cNvSpPr>
              <a:spLocks noChangeAspect="1" noChangeArrowheads="1"/>
            </p:cNvSpPr>
            <p:nvPr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4" name="Oval 855"/>
            <p:cNvSpPr>
              <a:spLocks noChangeAspect="1" noChangeArrowheads="1"/>
            </p:cNvSpPr>
            <p:nvPr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5" name="Oval 856"/>
            <p:cNvSpPr>
              <a:spLocks noChangeAspect="1" noChangeArrowheads="1"/>
            </p:cNvSpPr>
            <p:nvPr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6" name="Oval 857"/>
            <p:cNvSpPr>
              <a:spLocks noChangeAspect="1" noChangeArrowheads="1"/>
            </p:cNvSpPr>
            <p:nvPr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7" name="Oval 858"/>
            <p:cNvSpPr>
              <a:spLocks noChangeAspect="1" noChangeArrowheads="1"/>
            </p:cNvSpPr>
            <p:nvPr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8" name="Oval 859"/>
            <p:cNvSpPr>
              <a:spLocks noChangeAspect="1" noChangeArrowheads="1"/>
            </p:cNvSpPr>
            <p:nvPr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9" name="Oval 860"/>
            <p:cNvSpPr>
              <a:spLocks noChangeAspect="1" noChangeArrowheads="1"/>
            </p:cNvSpPr>
            <p:nvPr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0" name="Oval 861"/>
            <p:cNvSpPr>
              <a:spLocks noChangeAspect="1" noChangeArrowheads="1"/>
            </p:cNvSpPr>
            <p:nvPr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1" name="Oval 862"/>
            <p:cNvSpPr>
              <a:spLocks noChangeAspect="1" noChangeArrowheads="1"/>
            </p:cNvSpPr>
            <p:nvPr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2" name="Oval 863"/>
            <p:cNvSpPr>
              <a:spLocks noChangeAspect="1" noChangeArrowheads="1"/>
            </p:cNvSpPr>
            <p:nvPr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3" name="Oval 864"/>
            <p:cNvSpPr>
              <a:spLocks noChangeAspect="1" noChangeArrowheads="1"/>
            </p:cNvSpPr>
            <p:nvPr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4" name="Oval 865"/>
            <p:cNvSpPr>
              <a:spLocks noChangeAspect="1" noChangeArrowheads="1"/>
            </p:cNvSpPr>
            <p:nvPr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5" name="Oval 866"/>
            <p:cNvSpPr>
              <a:spLocks noChangeAspect="1" noChangeArrowheads="1"/>
            </p:cNvSpPr>
            <p:nvPr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6" name="Oval 867"/>
            <p:cNvSpPr>
              <a:spLocks noChangeAspect="1" noChangeArrowheads="1"/>
            </p:cNvSpPr>
            <p:nvPr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7" name="Oval 868"/>
            <p:cNvSpPr>
              <a:spLocks noChangeAspect="1" noChangeArrowheads="1"/>
            </p:cNvSpPr>
            <p:nvPr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8" name="Oval 869"/>
            <p:cNvSpPr>
              <a:spLocks noChangeAspect="1" noChangeArrowheads="1"/>
            </p:cNvSpPr>
            <p:nvPr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9" name="Oval 870"/>
            <p:cNvSpPr>
              <a:spLocks noChangeAspect="1" noChangeArrowheads="1"/>
            </p:cNvSpPr>
            <p:nvPr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0" name="Oval 871"/>
            <p:cNvSpPr>
              <a:spLocks noChangeAspect="1" noChangeArrowheads="1"/>
            </p:cNvSpPr>
            <p:nvPr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1" name="Oval 872"/>
            <p:cNvSpPr>
              <a:spLocks noChangeAspect="1" noChangeArrowheads="1"/>
            </p:cNvSpPr>
            <p:nvPr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2" name="Oval 873"/>
            <p:cNvSpPr>
              <a:spLocks noChangeAspect="1" noChangeArrowheads="1"/>
            </p:cNvSpPr>
            <p:nvPr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3" name="Oval 874"/>
            <p:cNvSpPr>
              <a:spLocks noChangeAspect="1" noChangeArrowheads="1"/>
            </p:cNvSpPr>
            <p:nvPr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4" name="Oval 875"/>
            <p:cNvSpPr>
              <a:spLocks noChangeAspect="1" noChangeArrowheads="1"/>
            </p:cNvSpPr>
            <p:nvPr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5" name="Oval 876"/>
            <p:cNvSpPr>
              <a:spLocks noChangeAspect="1" noChangeArrowheads="1"/>
            </p:cNvSpPr>
            <p:nvPr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6" name="Oval 877"/>
            <p:cNvSpPr>
              <a:spLocks noChangeAspect="1" noChangeArrowheads="1"/>
            </p:cNvSpPr>
            <p:nvPr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7" name="Oval 878"/>
            <p:cNvSpPr>
              <a:spLocks noChangeAspect="1" noChangeArrowheads="1"/>
            </p:cNvSpPr>
            <p:nvPr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8" name="Oval 879"/>
            <p:cNvSpPr>
              <a:spLocks noChangeAspect="1" noChangeArrowheads="1"/>
            </p:cNvSpPr>
            <p:nvPr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9" name="Oval 880"/>
            <p:cNvSpPr>
              <a:spLocks noChangeAspect="1" noChangeArrowheads="1"/>
            </p:cNvSpPr>
            <p:nvPr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0" name="Oval 881"/>
            <p:cNvSpPr>
              <a:spLocks noChangeAspect="1" noChangeArrowheads="1"/>
            </p:cNvSpPr>
            <p:nvPr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1" name="Oval 882"/>
            <p:cNvSpPr>
              <a:spLocks noChangeAspect="1" noChangeArrowheads="1"/>
            </p:cNvSpPr>
            <p:nvPr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2" name="Oval 883"/>
            <p:cNvSpPr>
              <a:spLocks noChangeAspect="1" noChangeArrowheads="1"/>
            </p:cNvSpPr>
            <p:nvPr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3" name="Oval 884"/>
            <p:cNvSpPr>
              <a:spLocks noChangeAspect="1" noChangeArrowheads="1"/>
            </p:cNvSpPr>
            <p:nvPr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4" name="Oval 885"/>
            <p:cNvSpPr>
              <a:spLocks noChangeAspect="1" noChangeArrowheads="1"/>
            </p:cNvSpPr>
            <p:nvPr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5" name="Oval 886"/>
            <p:cNvSpPr>
              <a:spLocks noChangeAspect="1" noChangeArrowheads="1"/>
            </p:cNvSpPr>
            <p:nvPr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6" name="Oval 887"/>
            <p:cNvSpPr>
              <a:spLocks noChangeAspect="1" noChangeArrowheads="1"/>
            </p:cNvSpPr>
            <p:nvPr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7" name="Oval 888"/>
            <p:cNvSpPr>
              <a:spLocks noChangeAspect="1" noChangeArrowheads="1"/>
            </p:cNvSpPr>
            <p:nvPr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8" name="Oval 889"/>
            <p:cNvSpPr>
              <a:spLocks noChangeAspect="1" noChangeArrowheads="1"/>
            </p:cNvSpPr>
            <p:nvPr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9" name="Oval 890"/>
            <p:cNvSpPr>
              <a:spLocks noChangeAspect="1" noChangeArrowheads="1"/>
            </p:cNvSpPr>
            <p:nvPr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0" name="Oval 891"/>
            <p:cNvSpPr>
              <a:spLocks noChangeAspect="1" noChangeArrowheads="1"/>
            </p:cNvSpPr>
            <p:nvPr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1" name="Oval 892"/>
            <p:cNvSpPr>
              <a:spLocks noChangeAspect="1" noChangeArrowheads="1"/>
            </p:cNvSpPr>
            <p:nvPr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2" name="Oval 893"/>
            <p:cNvSpPr>
              <a:spLocks noChangeAspect="1" noChangeArrowheads="1"/>
            </p:cNvSpPr>
            <p:nvPr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3" name="Oval 894"/>
            <p:cNvSpPr>
              <a:spLocks noChangeAspect="1" noChangeArrowheads="1"/>
            </p:cNvSpPr>
            <p:nvPr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4" name="Oval 895"/>
            <p:cNvSpPr>
              <a:spLocks noChangeAspect="1" noChangeArrowheads="1"/>
            </p:cNvSpPr>
            <p:nvPr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5" name="Oval 896"/>
            <p:cNvSpPr>
              <a:spLocks noChangeAspect="1" noChangeArrowheads="1"/>
            </p:cNvSpPr>
            <p:nvPr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6" name="Oval 897"/>
            <p:cNvSpPr>
              <a:spLocks noChangeAspect="1" noChangeArrowheads="1"/>
            </p:cNvSpPr>
            <p:nvPr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7" name="Oval 898"/>
            <p:cNvSpPr>
              <a:spLocks noChangeAspect="1" noChangeArrowheads="1"/>
            </p:cNvSpPr>
            <p:nvPr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8" name="Oval 899"/>
            <p:cNvSpPr>
              <a:spLocks noChangeAspect="1" noChangeArrowheads="1"/>
            </p:cNvSpPr>
            <p:nvPr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9" name="Oval 900"/>
            <p:cNvSpPr>
              <a:spLocks noChangeAspect="1" noChangeArrowheads="1"/>
            </p:cNvSpPr>
            <p:nvPr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0" name="Oval 901"/>
            <p:cNvSpPr>
              <a:spLocks noChangeAspect="1" noChangeArrowheads="1"/>
            </p:cNvSpPr>
            <p:nvPr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1" name="Oval 902"/>
            <p:cNvSpPr>
              <a:spLocks noChangeAspect="1" noChangeArrowheads="1"/>
            </p:cNvSpPr>
            <p:nvPr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2" name="Oval 903"/>
            <p:cNvSpPr>
              <a:spLocks noChangeAspect="1" noChangeArrowheads="1"/>
            </p:cNvSpPr>
            <p:nvPr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3" name="Oval 904"/>
            <p:cNvSpPr>
              <a:spLocks noChangeAspect="1" noChangeArrowheads="1"/>
            </p:cNvSpPr>
            <p:nvPr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4" name="Oval 905"/>
            <p:cNvSpPr>
              <a:spLocks noChangeAspect="1" noChangeArrowheads="1"/>
            </p:cNvSpPr>
            <p:nvPr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5" name="Oval 906"/>
            <p:cNvSpPr>
              <a:spLocks noChangeAspect="1" noChangeArrowheads="1"/>
            </p:cNvSpPr>
            <p:nvPr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6" name="Oval 907"/>
            <p:cNvSpPr>
              <a:spLocks noChangeAspect="1" noChangeArrowheads="1"/>
            </p:cNvSpPr>
            <p:nvPr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7" name="Oval 908"/>
            <p:cNvSpPr>
              <a:spLocks noChangeAspect="1" noChangeArrowheads="1"/>
            </p:cNvSpPr>
            <p:nvPr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8" name="Oval 909"/>
            <p:cNvSpPr>
              <a:spLocks noChangeAspect="1" noChangeArrowheads="1"/>
            </p:cNvSpPr>
            <p:nvPr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9" name="Oval 910"/>
            <p:cNvSpPr>
              <a:spLocks noChangeAspect="1" noChangeArrowheads="1"/>
            </p:cNvSpPr>
            <p:nvPr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0" name="Oval 911"/>
            <p:cNvSpPr>
              <a:spLocks noChangeAspect="1" noChangeArrowheads="1"/>
            </p:cNvSpPr>
            <p:nvPr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1" name="Oval 912"/>
            <p:cNvSpPr>
              <a:spLocks noChangeAspect="1" noChangeArrowheads="1"/>
            </p:cNvSpPr>
            <p:nvPr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2" name="Oval 913"/>
            <p:cNvSpPr>
              <a:spLocks noChangeAspect="1" noChangeArrowheads="1"/>
            </p:cNvSpPr>
            <p:nvPr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3" name="Oval 914"/>
            <p:cNvSpPr>
              <a:spLocks noChangeAspect="1" noChangeArrowheads="1"/>
            </p:cNvSpPr>
            <p:nvPr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4" name="Oval 915"/>
            <p:cNvSpPr>
              <a:spLocks noChangeAspect="1" noChangeArrowheads="1"/>
            </p:cNvSpPr>
            <p:nvPr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5" name="Oval 916"/>
            <p:cNvSpPr>
              <a:spLocks noChangeAspect="1" noChangeArrowheads="1"/>
            </p:cNvSpPr>
            <p:nvPr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6" name="Oval 917"/>
            <p:cNvSpPr>
              <a:spLocks noChangeAspect="1" noChangeArrowheads="1"/>
            </p:cNvSpPr>
            <p:nvPr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7" name="Oval 918"/>
            <p:cNvSpPr>
              <a:spLocks noChangeAspect="1" noChangeArrowheads="1"/>
            </p:cNvSpPr>
            <p:nvPr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8" name="Oval 919"/>
            <p:cNvSpPr>
              <a:spLocks noChangeAspect="1" noChangeArrowheads="1"/>
            </p:cNvSpPr>
            <p:nvPr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9" name="Oval 920"/>
            <p:cNvSpPr>
              <a:spLocks noChangeAspect="1" noChangeArrowheads="1"/>
            </p:cNvSpPr>
            <p:nvPr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0" name="Oval 921"/>
            <p:cNvSpPr>
              <a:spLocks noChangeAspect="1" noChangeArrowheads="1"/>
            </p:cNvSpPr>
            <p:nvPr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1" name="Oval 922"/>
            <p:cNvSpPr>
              <a:spLocks noChangeAspect="1" noChangeArrowheads="1"/>
            </p:cNvSpPr>
            <p:nvPr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2" name="Oval 923"/>
            <p:cNvSpPr>
              <a:spLocks noChangeAspect="1" noChangeArrowheads="1"/>
            </p:cNvSpPr>
            <p:nvPr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3" name="Oval 924"/>
            <p:cNvSpPr>
              <a:spLocks noChangeAspect="1" noChangeArrowheads="1"/>
            </p:cNvSpPr>
            <p:nvPr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4" name="Oval 925"/>
            <p:cNvSpPr>
              <a:spLocks noChangeAspect="1" noChangeArrowheads="1"/>
            </p:cNvSpPr>
            <p:nvPr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5" name="Oval 926"/>
            <p:cNvSpPr>
              <a:spLocks noChangeAspect="1" noChangeArrowheads="1"/>
            </p:cNvSpPr>
            <p:nvPr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6" name="Oval 927"/>
            <p:cNvSpPr>
              <a:spLocks noChangeAspect="1" noChangeArrowheads="1"/>
            </p:cNvSpPr>
            <p:nvPr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7" name="Oval 928"/>
            <p:cNvSpPr>
              <a:spLocks noChangeAspect="1" noChangeArrowheads="1"/>
            </p:cNvSpPr>
            <p:nvPr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8" name="Oval 929"/>
            <p:cNvSpPr>
              <a:spLocks noChangeAspect="1" noChangeArrowheads="1"/>
            </p:cNvSpPr>
            <p:nvPr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9" name="Oval 930"/>
            <p:cNvSpPr>
              <a:spLocks noChangeAspect="1" noChangeArrowheads="1"/>
            </p:cNvSpPr>
            <p:nvPr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0" name="Oval 931"/>
            <p:cNvSpPr>
              <a:spLocks noChangeAspect="1" noChangeArrowheads="1"/>
            </p:cNvSpPr>
            <p:nvPr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1" name="Oval 932"/>
            <p:cNvSpPr>
              <a:spLocks noChangeAspect="1" noChangeArrowheads="1"/>
            </p:cNvSpPr>
            <p:nvPr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2" name="Oval 933"/>
            <p:cNvSpPr>
              <a:spLocks noChangeAspect="1" noChangeArrowheads="1"/>
            </p:cNvSpPr>
            <p:nvPr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3" name="Oval 934"/>
            <p:cNvSpPr>
              <a:spLocks noChangeAspect="1" noChangeArrowheads="1"/>
            </p:cNvSpPr>
            <p:nvPr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4" name="Oval 935"/>
            <p:cNvSpPr>
              <a:spLocks noChangeAspect="1" noChangeArrowheads="1"/>
            </p:cNvSpPr>
            <p:nvPr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5" name="Oval 936"/>
            <p:cNvSpPr>
              <a:spLocks noChangeAspect="1" noChangeArrowheads="1"/>
            </p:cNvSpPr>
            <p:nvPr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6" name="Oval 937"/>
            <p:cNvSpPr>
              <a:spLocks noChangeAspect="1" noChangeArrowheads="1"/>
            </p:cNvSpPr>
            <p:nvPr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7" name="Oval 938"/>
            <p:cNvSpPr>
              <a:spLocks noChangeAspect="1" noChangeArrowheads="1"/>
            </p:cNvSpPr>
            <p:nvPr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8" name="Oval 939"/>
            <p:cNvSpPr>
              <a:spLocks noChangeAspect="1" noChangeArrowheads="1"/>
            </p:cNvSpPr>
            <p:nvPr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9" name="Oval 940"/>
            <p:cNvSpPr>
              <a:spLocks noChangeAspect="1" noChangeArrowheads="1"/>
            </p:cNvSpPr>
            <p:nvPr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0" name="Oval 941"/>
            <p:cNvSpPr>
              <a:spLocks noChangeAspect="1" noChangeArrowheads="1"/>
            </p:cNvSpPr>
            <p:nvPr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1" name="Oval 942"/>
            <p:cNvSpPr>
              <a:spLocks noChangeAspect="1" noChangeArrowheads="1"/>
            </p:cNvSpPr>
            <p:nvPr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2" name="Oval 943"/>
            <p:cNvSpPr>
              <a:spLocks noChangeAspect="1" noChangeArrowheads="1"/>
            </p:cNvSpPr>
            <p:nvPr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3" name="Oval 944"/>
            <p:cNvSpPr>
              <a:spLocks noChangeAspect="1" noChangeArrowheads="1"/>
            </p:cNvSpPr>
            <p:nvPr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4" name="Oval 945"/>
            <p:cNvSpPr>
              <a:spLocks noChangeAspect="1" noChangeArrowheads="1"/>
            </p:cNvSpPr>
            <p:nvPr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5" name="Oval 946"/>
            <p:cNvSpPr>
              <a:spLocks noChangeAspect="1" noChangeArrowheads="1"/>
            </p:cNvSpPr>
            <p:nvPr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6" name="Oval 947"/>
            <p:cNvSpPr>
              <a:spLocks noChangeAspect="1" noChangeArrowheads="1"/>
            </p:cNvSpPr>
            <p:nvPr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7" name="Oval 948"/>
            <p:cNvSpPr>
              <a:spLocks noChangeAspect="1" noChangeArrowheads="1"/>
            </p:cNvSpPr>
            <p:nvPr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8" name="Oval 949"/>
            <p:cNvSpPr>
              <a:spLocks noChangeAspect="1" noChangeArrowheads="1"/>
            </p:cNvSpPr>
            <p:nvPr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9" name="Oval 950"/>
            <p:cNvSpPr>
              <a:spLocks noChangeAspect="1" noChangeArrowheads="1"/>
            </p:cNvSpPr>
            <p:nvPr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0" name="Oval 951"/>
            <p:cNvSpPr>
              <a:spLocks noChangeAspect="1" noChangeArrowheads="1"/>
            </p:cNvSpPr>
            <p:nvPr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1" name="Oval 952"/>
            <p:cNvSpPr>
              <a:spLocks noChangeAspect="1" noChangeArrowheads="1"/>
            </p:cNvSpPr>
            <p:nvPr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2" name="Oval 953"/>
            <p:cNvSpPr>
              <a:spLocks noChangeAspect="1" noChangeArrowheads="1"/>
            </p:cNvSpPr>
            <p:nvPr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3" name="Oval 954"/>
            <p:cNvSpPr>
              <a:spLocks noChangeAspect="1" noChangeArrowheads="1"/>
            </p:cNvSpPr>
            <p:nvPr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4" name="Oval 955"/>
            <p:cNvSpPr>
              <a:spLocks noChangeAspect="1" noChangeArrowheads="1"/>
            </p:cNvSpPr>
            <p:nvPr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5" name="Oval 956"/>
            <p:cNvSpPr>
              <a:spLocks noChangeAspect="1" noChangeArrowheads="1"/>
            </p:cNvSpPr>
            <p:nvPr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6" name="Oval 957"/>
            <p:cNvSpPr>
              <a:spLocks noChangeAspect="1" noChangeArrowheads="1"/>
            </p:cNvSpPr>
            <p:nvPr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7" name="Oval 958"/>
            <p:cNvSpPr>
              <a:spLocks noChangeAspect="1" noChangeArrowheads="1"/>
            </p:cNvSpPr>
            <p:nvPr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8" name="Oval 959"/>
            <p:cNvSpPr>
              <a:spLocks noChangeAspect="1" noChangeArrowheads="1"/>
            </p:cNvSpPr>
            <p:nvPr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9" name="Oval 960"/>
            <p:cNvSpPr>
              <a:spLocks noChangeAspect="1" noChangeArrowheads="1"/>
            </p:cNvSpPr>
            <p:nvPr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0" name="Oval 961"/>
            <p:cNvSpPr>
              <a:spLocks noChangeAspect="1" noChangeArrowheads="1"/>
            </p:cNvSpPr>
            <p:nvPr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1" name="Oval 962"/>
            <p:cNvSpPr>
              <a:spLocks noChangeAspect="1" noChangeArrowheads="1"/>
            </p:cNvSpPr>
            <p:nvPr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2" name="Oval 963"/>
            <p:cNvSpPr>
              <a:spLocks noChangeAspect="1" noChangeArrowheads="1"/>
            </p:cNvSpPr>
            <p:nvPr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3" name="Oval 964"/>
            <p:cNvSpPr>
              <a:spLocks noChangeAspect="1" noChangeArrowheads="1"/>
            </p:cNvSpPr>
            <p:nvPr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4" name="Oval 965"/>
            <p:cNvSpPr>
              <a:spLocks noChangeAspect="1" noChangeArrowheads="1"/>
            </p:cNvSpPr>
            <p:nvPr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5" name="Oval 966"/>
            <p:cNvSpPr>
              <a:spLocks noChangeAspect="1" noChangeArrowheads="1"/>
            </p:cNvSpPr>
            <p:nvPr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6" name="Oval 967"/>
            <p:cNvSpPr>
              <a:spLocks noChangeAspect="1" noChangeArrowheads="1"/>
            </p:cNvSpPr>
            <p:nvPr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7" name="Oval 968"/>
            <p:cNvSpPr>
              <a:spLocks noChangeAspect="1" noChangeArrowheads="1"/>
            </p:cNvSpPr>
            <p:nvPr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8" name="Oval 969"/>
            <p:cNvSpPr>
              <a:spLocks noChangeAspect="1" noChangeArrowheads="1"/>
            </p:cNvSpPr>
            <p:nvPr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9" name="Oval 970"/>
            <p:cNvSpPr>
              <a:spLocks noChangeAspect="1" noChangeArrowheads="1"/>
            </p:cNvSpPr>
            <p:nvPr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0" name="Oval 971"/>
            <p:cNvSpPr>
              <a:spLocks noChangeAspect="1" noChangeArrowheads="1"/>
            </p:cNvSpPr>
            <p:nvPr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1" name="Oval 972"/>
            <p:cNvSpPr>
              <a:spLocks noChangeAspect="1" noChangeArrowheads="1"/>
            </p:cNvSpPr>
            <p:nvPr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2" name="Oval 973"/>
            <p:cNvSpPr>
              <a:spLocks noChangeAspect="1" noChangeArrowheads="1"/>
            </p:cNvSpPr>
            <p:nvPr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3" name="Oval 974"/>
            <p:cNvSpPr>
              <a:spLocks noChangeAspect="1" noChangeArrowheads="1"/>
            </p:cNvSpPr>
            <p:nvPr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4" name="Oval 975"/>
            <p:cNvSpPr>
              <a:spLocks noChangeAspect="1" noChangeArrowheads="1"/>
            </p:cNvSpPr>
            <p:nvPr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5" name="Oval 976"/>
            <p:cNvSpPr>
              <a:spLocks noChangeAspect="1" noChangeArrowheads="1"/>
            </p:cNvSpPr>
            <p:nvPr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6" name="Oval 977"/>
            <p:cNvSpPr>
              <a:spLocks noChangeAspect="1" noChangeArrowheads="1"/>
            </p:cNvSpPr>
            <p:nvPr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7" name="Oval 978"/>
            <p:cNvSpPr>
              <a:spLocks noChangeAspect="1" noChangeArrowheads="1"/>
            </p:cNvSpPr>
            <p:nvPr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8" name="Oval 979"/>
            <p:cNvSpPr>
              <a:spLocks noChangeAspect="1" noChangeArrowheads="1"/>
            </p:cNvSpPr>
            <p:nvPr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9" name="Oval 980"/>
            <p:cNvSpPr>
              <a:spLocks noChangeAspect="1" noChangeArrowheads="1"/>
            </p:cNvSpPr>
            <p:nvPr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0" name="Oval 981"/>
            <p:cNvSpPr>
              <a:spLocks noChangeAspect="1" noChangeArrowheads="1"/>
            </p:cNvSpPr>
            <p:nvPr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1" name="Oval 982"/>
            <p:cNvSpPr>
              <a:spLocks noChangeAspect="1" noChangeArrowheads="1"/>
            </p:cNvSpPr>
            <p:nvPr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2" name="Oval 983"/>
            <p:cNvSpPr>
              <a:spLocks noChangeAspect="1" noChangeArrowheads="1"/>
            </p:cNvSpPr>
            <p:nvPr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3" name="Oval 984"/>
            <p:cNvSpPr>
              <a:spLocks noChangeAspect="1" noChangeArrowheads="1"/>
            </p:cNvSpPr>
            <p:nvPr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4" name="Oval 985"/>
            <p:cNvSpPr>
              <a:spLocks noChangeAspect="1" noChangeArrowheads="1"/>
            </p:cNvSpPr>
            <p:nvPr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5" name="Oval 986"/>
            <p:cNvSpPr>
              <a:spLocks noChangeAspect="1" noChangeArrowheads="1"/>
            </p:cNvSpPr>
            <p:nvPr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6" name="Oval 987"/>
            <p:cNvSpPr>
              <a:spLocks noChangeAspect="1" noChangeArrowheads="1"/>
            </p:cNvSpPr>
            <p:nvPr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7" name="Oval 988"/>
            <p:cNvSpPr>
              <a:spLocks noChangeAspect="1" noChangeArrowheads="1"/>
            </p:cNvSpPr>
            <p:nvPr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8" name="Oval 989"/>
            <p:cNvSpPr>
              <a:spLocks noChangeAspect="1" noChangeArrowheads="1"/>
            </p:cNvSpPr>
            <p:nvPr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9" name="Oval 990"/>
            <p:cNvSpPr>
              <a:spLocks noChangeAspect="1" noChangeArrowheads="1"/>
            </p:cNvSpPr>
            <p:nvPr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0" name="Oval 991"/>
            <p:cNvSpPr>
              <a:spLocks noChangeAspect="1" noChangeArrowheads="1"/>
            </p:cNvSpPr>
            <p:nvPr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1" name="Oval 992"/>
            <p:cNvSpPr>
              <a:spLocks noChangeAspect="1" noChangeArrowheads="1"/>
            </p:cNvSpPr>
            <p:nvPr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2" name="Oval 993"/>
            <p:cNvSpPr>
              <a:spLocks noChangeAspect="1" noChangeArrowheads="1"/>
            </p:cNvSpPr>
            <p:nvPr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3" name="Oval 994"/>
            <p:cNvSpPr>
              <a:spLocks noChangeAspect="1" noChangeArrowheads="1"/>
            </p:cNvSpPr>
            <p:nvPr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4" name="Oval 995"/>
            <p:cNvSpPr>
              <a:spLocks noChangeAspect="1" noChangeArrowheads="1"/>
            </p:cNvSpPr>
            <p:nvPr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5" name="Oval 996"/>
            <p:cNvSpPr>
              <a:spLocks noChangeAspect="1" noChangeArrowheads="1"/>
            </p:cNvSpPr>
            <p:nvPr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6" name="Oval 997"/>
            <p:cNvSpPr>
              <a:spLocks noChangeAspect="1" noChangeArrowheads="1"/>
            </p:cNvSpPr>
            <p:nvPr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7" name="Oval 998"/>
            <p:cNvSpPr>
              <a:spLocks noChangeAspect="1" noChangeArrowheads="1"/>
            </p:cNvSpPr>
            <p:nvPr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8" name="Oval 999"/>
            <p:cNvSpPr>
              <a:spLocks noChangeAspect="1" noChangeArrowheads="1"/>
            </p:cNvSpPr>
            <p:nvPr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9" name="Oval 1000"/>
            <p:cNvSpPr>
              <a:spLocks noChangeAspect="1" noChangeArrowheads="1"/>
            </p:cNvSpPr>
            <p:nvPr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0" name="Oval 1001"/>
            <p:cNvSpPr>
              <a:spLocks noChangeAspect="1" noChangeArrowheads="1"/>
            </p:cNvSpPr>
            <p:nvPr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1" name="Oval 1002"/>
            <p:cNvSpPr>
              <a:spLocks noChangeAspect="1" noChangeArrowheads="1"/>
            </p:cNvSpPr>
            <p:nvPr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2" name="Oval 1003"/>
            <p:cNvSpPr>
              <a:spLocks noChangeAspect="1" noChangeArrowheads="1"/>
            </p:cNvSpPr>
            <p:nvPr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3" name="Oval 1004"/>
            <p:cNvSpPr>
              <a:spLocks noChangeAspect="1" noChangeArrowheads="1"/>
            </p:cNvSpPr>
            <p:nvPr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4" name="Oval 1005"/>
            <p:cNvSpPr>
              <a:spLocks noChangeAspect="1" noChangeArrowheads="1"/>
            </p:cNvSpPr>
            <p:nvPr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5" name="Oval 1006"/>
            <p:cNvSpPr>
              <a:spLocks noChangeAspect="1" noChangeArrowheads="1"/>
            </p:cNvSpPr>
            <p:nvPr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6" name="Oval 1007"/>
            <p:cNvSpPr>
              <a:spLocks noChangeAspect="1" noChangeArrowheads="1"/>
            </p:cNvSpPr>
            <p:nvPr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7" name="Oval 1008"/>
            <p:cNvSpPr>
              <a:spLocks noChangeAspect="1" noChangeArrowheads="1"/>
            </p:cNvSpPr>
            <p:nvPr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8" name="Oval 1009"/>
            <p:cNvSpPr>
              <a:spLocks noChangeAspect="1" noChangeArrowheads="1"/>
            </p:cNvSpPr>
            <p:nvPr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9" name="Oval 1010"/>
            <p:cNvSpPr>
              <a:spLocks noChangeAspect="1" noChangeArrowheads="1"/>
            </p:cNvSpPr>
            <p:nvPr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0" name="Oval 1011"/>
            <p:cNvSpPr>
              <a:spLocks noChangeAspect="1" noChangeArrowheads="1"/>
            </p:cNvSpPr>
            <p:nvPr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1" name="Oval 1012"/>
            <p:cNvSpPr>
              <a:spLocks noChangeAspect="1" noChangeArrowheads="1"/>
            </p:cNvSpPr>
            <p:nvPr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2" name="Oval 1013"/>
            <p:cNvSpPr>
              <a:spLocks noChangeAspect="1" noChangeArrowheads="1"/>
            </p:cNvSpPr>
            <p:nvPr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3" name="Oval 1014"/>
            <p:cNvSpPr>
              <a:spLocks noChangeAspect="1" noChangeArrowheads="1"/>
            </p:cNvSpPr>
            <p:nvPr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4" name="Oval 1015"/>
            <p:cNvSpPr>
              <a:spLocks noChangeAspect="1" noChangeArrowheads="1"/>
            </p:cNvSpPr>
            <p:nvPr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5" name="Oval 1016"/>
            <p:cNvSpPr>
              <a:spLocks noChangeAspect="1" noChangeArrowheads="1"/>
            </p:cNvSpPr>
            <p:nvPr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6" name="Oval 1017"/>
            <p:cNvSpPr>
              <a:spLocks noChangeAspect="1" noChangeArrowheads="1"/>
            </p:cNvSpPr>
            <p:nvPr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7" name="Oval 1018"/>
            <p:cNvSpPr>
              <a:spLocks noChangeAspect="1" noChangeArrowheads="1"/>
            </p:cNvSpPr>
            <p:nvPr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8" name="Oval 1019"/>
            <p:cNvSpPr>
              <a:spLocks noChangeAspect="1" noChangeArrowheads="1"/>
            </p:cNvSpPr>
            <p:nvPr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9" name="Oval 1020"/>
            <p:cNvSpPr>
              <a:spLocks noChangeAspect="1" noChangeArrowheads="1"/>
            </p:cNvSpPr>
            <p:nvPr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0" name="Oval 1021"/>
            <p:cNvSpPr>
              <a:spLocks noChangeAspect="1" noChangeArrowheads="1"/>
            </p:cNvSpPr>
            <p:nvPr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1" name="Oval 1022"/>
            <p:cNvSpPr>
              <a:spLocks noChangeAspect="1" noChangeArrowheads="1"/>
            </p:cNvSpPr>
            <p:nvPr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2" name="Oval 1023"/>
            <p:cNvSpPr>
              <a:spLocks noChangeAspect="1" noChangeArrowheads="1"/>
            </p:cNvSpPr>
            <p:nvPr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3" name="Oval 1024"/>
            <p:cNvSpPr>
              <a:spLocks noChangeAspect="1" noChangeArrowheads="1"/>
            </p:cNvSpPr>
            <p:nvPr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4" name="Oval 1025"/>
            <p:cNvSpPr>
              <a:spLocks noChangeAspect="1" noChangeArrowheads="1"/>
            </p:cNvSpPr>
            <p:nvPr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5" name="Oval 1026"/>
            <p:cNvSpPr>
              <a:spLocks noChangeAspect="1" noChangeArrowheads="1"/>
            </p:cNvSpPr>
            <p:nvPr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6" name="Oval 1027"/>
            <p:cNvSpPr>
              <a:spLocks noChangeAspect="1" noChangeArrowheads="1"/>
            </p:cNvSpPr>
            <p:nvPr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7" name="Oval 1028"/>
            <p:cNvSpPr>
              <a:spLocks noChangeAspect="1" noChangeArrowheads="1"/>
            </p:cNvSpPr>
            <p:nvPr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8" name="Oval 1029"/>
            <p:cNvSpPr>
              <a:spLocks noChangeAspect="1" noChangeArrowheads="1"/>
            </p:cNvSpPr>
            <p:nvPr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9" name="Oval 1030"/>
            <p:cNvSpPr>
              <a:spLocks noChangeAspect="1" noChangeArrowheads="1"/>
            </p:cNvSpPr>
            <p:nvPr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0" name="Oval 1031"/>
            <p:cNvSpPr>
              <a:spLocks noChangeAspect="1" noChangeArrowheads="1"/>
            </p:cNvSpPr>
            <p:nvPr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1" name="Oval 1032"/>
            <p:cNvSpPr>
              <a:spLocks noChangeAspect="1" noChangeArrowheads="1"/>
            </p:cNvSpPr>
            <p:nvPr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2" name="Oval 1033"/>
            <p:cNvSpPr>
              <a:spLocks noChangeAspect="1" noChangeArrowheads="1"/>
            </p:cNvSpPr>
            <p:nvPr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3" name="Oval 1034"/>
            <p:cNvSpPr>
              <a:spLocks noChangeAspect="1" noChangeArrowheads="1"/>
            </p:cNvSpPr>
            <p:nvPr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4" name="Oval 1035"/>
            <p:cNvSpPr>
              <a:spLocks noChangeAspect="1" noChangeArrowheads="1"/>
            </p:cNvSpPr>
            <p:nvPr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5" name="Oval 1036"/>
            <p:cNvSpPr>
              <a:spLocks noChangeAspect="1" noChangeArrowheads="1"/>
            </p:cNvSpPr>
            <p:nvPr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6" name="Oval 1037"/>
            <p:cNvSpPr>
              <a:spLocks noChangeAspect="1" noChangeArrowheads="1"/>
            </p:cNvSpPr>
            <p:nvPr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7" name="Oval 1038"/>
            <p:cNvSpPr>
              <a:spLocks noChangeAspect="1" noChangeArrowheads="1"/>
            </p:cNvSpPr>
            <p:nvPr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8" name="Oval 1039"/>
            <p:cNvSpPr>
              <a:spLocks noChangeAspect="1" noChangeArrowheads="1"/>
            </p:cNvSpPr>
            <p:nvPr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9" name="Oval 1040"/>
            <p:cNvSpPr>
              <a:spLocks noChangeAspect="1" noChangeArrowheads="1"/>
            </p:cNvSpPr>
            <p:nvPr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0" name="Oval 1041"/>
            <p:cNvSpPr>
              <a:spLocks noChangeAspect="1" noChangeArrowheads="1"/>
            </p:cNvSpPr>
            <p:nvPr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1" name="Oval 1042"/>
            <p:cNvSpPr>
              <a:spLocks noChangeAspect="1" noChangeArrowheads="1"/>
            </p:cNvSpPr>
            <p:nvPr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2" name="Oval 1043"/>
            <p:cNvSpPr>
              <a:spLocks noChangeAspect="1" noChangeArrowheads="1"/>
            </p:cNvSpPr>
            <p:nvPr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3" name="Oval 1044"/>
            <p:cNvSpPr>
              <a:spLocks noChangeAspect="1" noChangeArrowheads="1"/>
            </p:cNvSpPr>
            <p:nvPr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4" name="Oval 1045"/>
            <p:cNvSpPr>
              <a:spLocks noChangeAspect="1" noChangeArrowheads="1"/>
            </p:cNvSpPr>
            <p:nvPr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5" name="Oval 1046"/>
            <p:cNvSpPr>
              <a:spLocks noChangeAspect="1" noChangeArrowheads="1"/>
            </p:cNvSpPr>
            <p:nvPr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6" name="Oval 1047"/>
            <p:cNvSpPr>
              <a:spLocks noChangeAspect="1" noChangeArrowheads="1"/>
            </p:cNvSpPr>
            <p:nvPr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7" name="Oval 1048"/>
            <p:cNvSpPr>
              <a:spLocks noChangeAspect="1" noChangeArrowheads="1"/>
            </p:cNvSpPr>
            <p:nvPr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8" name="Oval 1049"/>
            <p:cNvSpPr>
              <a:spLocks noChangeAspect="1" noChangeArrowheads="1"/>
            </p:cNvSpPr>
            <p:nvPr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9" name="Oval 1050"/>
            <p:cNvSpPr>
              <a:spLocks noChangeAspect="1" noChangeArrowheads="1"/>
            </p:cNvSpPr>
            <p:nvPr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0" name="Oval 1051"/>
            <p:cNvSpPr>
              <a:spLocks noChangeAspect="1" noChangeArrowheads="1"/>
            </p:cNvSpPr>
            <p:nvPr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1" name="Oval 1052"/>
            <p:cNvSpPr>
              <a:spLocks noChangeAspect="1" noChangeArrowheads="1"/>
            </p:cNvSpPr>
            <p:nvPr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2" name="Oval 1053"/>
            <p:cNvSpPr>
              <a:spLocks noChangeAspect="1" noChangeArrowheads="1"/>
            </p:cNvSpPr>
            <p:nvPr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3" name="Oval 1054"/>
            <p:cNvSpPr>
              <a:spLocks noChangeAspect="1" noChangeArrowheads="1"/>
            </p:cNvSpPr>
            <p:nvPr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4" name="Oval 1055"/>
            <p:cNvSpPr>
              <a:spLocks noChangeAspect="1" noChangeArrowheads="1"/>
            </p:cNvSpPr>
            <p:nvPr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5" name="Oval 1056"/>
            <p:cNvSpPr>
              <a:spLocks noChangeAspect="1" noChangeArrowheads="1"/>
            </p:cNvSpPr>
            <p:nvPr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6" name="Oval 1057"/>
            <p:cNvSpPr>
              <a:spLocks noChangeAspect="1" noChangeArrowheads="1"/>
            </p:cNvSpPr>
            <p:nvPr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7" name="Oval 1058"/>
            <p:cNvSpPr>
              <a:spLocks noChangeAspect="1" noChangeArrowheads="1"/>
            </p:cNvSpPr>
            <p:nvPr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8" name="Oval 1059"/>
            <p:cNvSpPr>
              <a:spLocks noChangeAspect="1" noChangeArrowheads="1"/>
            </p:cNvSpPr>
            <p:nvPr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9" name="Oval 1060"/>
            <p:cNvSpPr>
              <a:spLocks noChangeAspect="1" noChangeArrowheads="1"/>
            </p:cNvSpPr>
            <p:nvPr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0" name="Oval 1061"/>
            <p:cNvSpPr>
              <a:spLocks noChangeAspect="1" noChangeArrowheads="1"/>
            </p:cNvSpPr>
            <p:nvPr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1" name="Oval 1062"/>
            <p:cNvSpPr>
              <a:spLocks noChangeAspect="1" noChangeArrowheads="1"/>
            </p:cNvSpPr>
            <p:nvPr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2" name="Oval 1063"/>
            <p:cNvSpPr>
              <a:spLocks noChangeAspect="1" noChangeArrowheads="1"/>
            </p:cNvSpPr>
            <p:nvPr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3" name="Oval 1064"/>
            <p:cNvSpPr>
              <a:spLocks noChangeAspect="1" noChangeArrowheads="1"/>
            </p:cNvSpPr>
            <p:nvPr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4" name="Oval 1065"/>
            <p:cNvSpPr>
              <a:spLocks noChangeAspect="1" noChangeArrowheads="1"/>
            </p:cNvSpPr>
            <p:nvPr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5" name="Oval 1066"/>
            <p:cNvSpPr>
              <a:spLocks noChangeAspect="1" noChangeArrowheads="1"/>
            </p:cNvSpPr>
            <p:nvPr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6" name="Oval 1067"/>
            <p:cNvSpPr>
              <a:spLocks noChangeAspect="1" noChangeArrowheads="1"/>
            </p:cNvSpPr>
            <p:nvPr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7" name="Oval 1068"/>
            <p:cNvSpPr>
              <a:spLocks noChangeAspect="1" noChangeArrowheads="1"/>
            </p:cNvSpPr>
            <p:nvPr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8" name="Oval 1069"/>
            <p:cNvSpPr>
              <a:spLocks noChangeAspect="1" noChangeArrowheads="1"/>
            </p:cNvSpPr>
            <p:nvPr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9" name="Oval 1070"/>
            <p:cNvSpPr>
              <a:spLocks noChangeAspect="1" noChangeArrowheads="1"/>
            </p:cNvSpPr>
            <p:nvPr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0" name="Oval 1071"/>
            <p:cNvSpPr>
              <a:spLocks noChangeAspect="1" noChangeArrowheads="1"/>
            </p:cNvSpPr>
            <p:nvPr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1" name="Oval 1072"/>
            <p:cNvSpPr>
              <a:spLocks noChangeAspect="1" noChangeArrowheads="1"/>
            </p:cNvSpPr>
            <p:nvPr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2" name="Oval 1073"/>
            <p:cNvSpPr>
              <a:spLocks noChangeAspect="1" noChangeArrowheads="1"/>
            </p:cNvSpPr>
            <p:nvPr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3" name="Oval 1074"/>
            <p:cNvSpPr>
              <a:spLocks noChangeAspect="1" noChangeArrowheads="1"/>
            </p:cNvSpPr>
            <p:nvPr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4" name="Oval 1075"/>
            <p:cNvSpPr>
              <a:spLocks noChangeAspect="1" noChangeArrowheads="1"/>
            </p:cNvSpPr>
            <p:nvPr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5" name="Oval 1076"/>
            <p:cNvSpPr>
              <a:spLocks noChangeAspect="1" noChangeArrowheads="1"/>
            </p:cNvSpPr>
            <p:nvPr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6" name="Oval 1077"/>
            <p:cNvSpPr>
              <a:spLocks noChangeAspect="1" noChangeArrowheads="1"/>
            </p:cNvSpPr>
            <p:nvPr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7" name="Oval 1078"/>
            <p:cNvSpPr>
              <a:spLocks noChangeAspect="1" noChangeArrowheads="1"/>
            </p:cNvSpPr>
            <p:nvPr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8" name="Oval 1079"/>
            <p:cNvSpPr>
              <a:spLocks noChangeAspect="1" noChangeArrowheads="1"/>
            </p:cNvSpPr>
            <p:nvPr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9" name="Oval 1080"/>
            <p:cNvSpPr>
              <a:spLocks noChangeAspect="1" noChangeArrowheads="1"/>
            </p:cNvSpPr>
            <p:nvPr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0" name="Oval 1081"/>
            <p:cNvSpPr>
              <a:spLocks noChangeAspect="1" noChangeArrowheads="1"/>
            </p:cNvSpPr>
            <p:nvPr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1" name="Oval 1082"/>
            <p:cNvSpPr>
              <a:spLocks noChangeAspect="1" noChangeArrowheads="1"/>
            </p:cNvSpPr>
            <p:nvPr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2" name="Oval 1083"/>
            <p:cNvSpPr>
              <a:spLocks noChangeAspect="1" noChangeArrowheads="1"/>
            </p:cNvSpPr>
            <p:nvPr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3" name="Oval 1084"/>
            <p:cNvSpPr>
              <a:spLocks noChangeAspect="1" noChangeArrowheads="1"/>
            </p:cNvSpPr>
            <p:nvPr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4" name="Oval 1085"/>
            <p:cNvSpPr>
              <a:spLocks noChangeAspect="1" noChangeArrowheads="1"/>
            </p:cNvSpPr>
            <p:nvPr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5" name="Oval 1086"/>
            <p:cNvSpPr>
              <a:spLocks noChangeAspect="1" noChangeArrowheads="1"/>
            </p:cNvSpPr>
            <p:nvPr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6" name="Oval 1087"/>
            <p:cNvSpPr>
              <a:spLocks noChangeAspect="1" noChangeArrowheads="1"/>
            </p:cNvSpPr>
            <p:nvPr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7" name="Oval 1088"/>
            <p:cNvSpPr>
              <a:spLocks noChangeAspect="1" noChangeArrowheads="1"/>
            </p:cNvSpPr>
            <p:nvPr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8" name="Oval 1089"/>
            <p:cNvSpPr>
              <a:spLocks noChangeAspect="1" noChangeArrowheads="1"/>
            </p:cNvSpPr>
            <p:nvPr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9" name="Oval 1090"/>
            <p:cNvSpPr>
              <a:spLocks noChangeAspect="1" noChangeArrowheads="1"/>
            </p:cNvSpPr>
            <p:nvPr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0" name="Oval 1091"/>
            <p:cNvSpPr>
              <a:spLocks noChangeAspect="1" noChangeArrowheads="1"/>
            </p:cNvSpPr>
            <p:nvPr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1" name="Oval 1092"/>
            <p:cNvSpPr>
              <a:spLocks noChangeAspect="1" noChangeArrowheads="1"/>
            </p:cNvSpPr>
            <p:nvPr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2" name="Oval 1093"/>
            <p:cNvSpPr>
              <a:spLocks noChangeAspect="1" noChangeArrowheads="1"/>
            </p:cNvSpPr>
            <p:nvPr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3" name="Oval 1094"/>
            <p:cNvSpPr>
              <a:spLocks noChangeAspect="1" noChangeArrowheads="1"/>
            </p:cNvSpPr>
            <p:nvPr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4" name="Oval 1095"/>
            <p:cNvSpPr>
              <a:spLocks noChangeAspect="1" noChangeArrowheads="1"/>
            </p:cNvSpPr>
            <p:nvPr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5" name="Oval 1096"/>
            <p:cNvSpPr>
              <a:spLocks noChangeAspect="1" noChangeArrowheads="1"/>
            </p:cNvSpPr>
            <p:nvPr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6" name="Oval 1097"/>
            <p:cNvSpPr>
              <a:spLocks noChangeAspect="1" noChangeArrowheads="1"/>
            </p:cNvSpPr>
            <p:nvPr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7" name="Oval 1098"/>
            <p:cNvSpPr>
              <a:spLocks noChangeAspect="1" noChangeArrowheads="1"/>
            </p:cNvSpPr>
            <p:nvPr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8" name="Oval 1099"/>
            <p:cNvSpPr>
              <a:spLocks noChangeAspect="1" noChangeArrowheads="1"/>
            </p:cNvSpPr>
            <p:nvPr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9" name="Oval 1100"/>
            <p:cNvSpPr>
              <a:spLocks noChangeAspect="1" noChangeArrowheads="1"/>
            </p:cNvSpPr>
            <p:nvPr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0" name="Oval 1101"/>
            <p:cNvSpPr>
              <a:spLocks noChangeAspect="1" noChangeArrowheads="1"/>
            </p:cNvSpPr>
            <p:nvPr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1" name="Oval 1102"/>
            <p:cNvSpPr>
              <a:spLocks noChangeAspect="1" noChangeArrowheads="1"/>
            </p:cNvSpPr>
            <p:nvPr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2" name="Oval 1103"/>
            <p:cNvSpPr>
              <a:spLocks noChangeAspect="1" noChangeArrowheads="1"/>
            </p:cNvSpPr>
            <p:nvPr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3" name="Oval 1104"/>
            <p:cNvSpPr>
              <a:spLocks noChangeAspect="1" noChangeArrowheads="1"/>
            </p:cNvSpPr>
            <p:nvPr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4" name="Oval 1105"/>
            <p:cNvSpPr>
              <a:spLocks noChangeAspect="1" noChangeArrowheads="1"/>
            </p:cNvSpPr>
            <p:nvPr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5" name="Oval 1106"/>
            <p:cNvSpPr>
              <a:spLocks noChangeAspect="1" noChangeArrowheads="1"/>
            </p:cNvSpPr>
            <p:nvPr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6" name="Oval 1107"/>
            <p:cNvSpPr>
              <a:spLocks noChangeAspect="1" noChangeArrowheads="1"/>
            </p:cNvSpPr>
            <p:nvPr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7" name="Oval 1108"/>
            <p:cNvSpPr>
              <a:spLocks noChangeAspect="1" noChangeArrowheads="1"/>
            </p:cNvSpPr>
            <p:nvPr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8" name="Oval 1109"/>
            <p:cNvSpPr>
              <a:spLocks noChangeAspect="1" noChangeArrowheads="1"/>
            </p:cNvSpPr>
            <p:nvPr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9" name="Oval 1110"/>
            <p:cNvSpPr>
              <a:spLocks noChangeAspect="1" noChangeArrowheads="1"/>
            </p:cNvSpPr>
            <p:nvPr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0" name="Oval 1111"/>
            <p:cNvSpPr>
              <a:spLocks noChangeAspect="1" noChangeArrowheads="1"/>
            </p:cNvSpPr>
            <p:nvPr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1" name="Oval 1112"/>
            <p:cNvSpPr>
              <a:spLocks noChangeAspect="1" noChangeArrowheads="1"/>
            </p:cNvSpPr>
            <p:nvPr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2" name="Oval 1113"/>
            <p:cNvSpPr>
              <a:spLocks noChangeAspect="1" noChangeArrowheads="1"/>
            </p:cNvSpPr>
            <p:nvPr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3" name="Oval 1114"/>
            <p:cNvSpPr>
              <a:spLocks noChangeAspect="1" noChangeArrowheads="1"/>
            </p:cNvSpPr>
            <p:nvPr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4" name="Oval 1115"/>
            <p:cNvSpPr>
              <a:spLocks noChangeAspect="1" noChangeArrowheads="1"/>
            </p:cNvSpPr>
            <p:nvPr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5" name="Oval 1116"/>
            <p:cNvSpPr>
              <a:spLocks noChangeAspect="1" noChangeArrowheads="1"/>
            </p:cNvSpPr>
            <p:nvPr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6" name="Oval 1117"/>
            <p:cNvSpPr>
              <a:spLocks noChangeAspect="1" noChangeArrowheads="1"/>
            </p:cNvSpPr>
            <p:nvPr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7" name="Oval 1118"/>
            <p:cNvSpPr>
              <a:spLocks noChangeAspect="1" noChangeArrowheads="1"/>
            </p:cNvSpPr>
            <p:nvPr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8" name="Oval 1119"/>
            <p:cNvSpPr>
              <a:spLocks noChangeAspect="1" noChangeArrowheads="1"/>
            </p:cNvSpPr>
            <p:nvPr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9" name="Oval 1120"/>
            <p:cNvSpPr>
              <a:spLocks noChangeAspect="1" noChangeArrowheads="1"/>
            </p:cNvSpPr>
            <p:nvPr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0" name="Oval 1121"/>
            <p:cNvSpPr>
              <a:spLocks noChangeAspect="1" noChangeArrowheads="1"/>
            </p:cNvSpPr>
            <p:nvPr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1" name="Oval 1122"/>
            <p:cNvSpPr>
              <a:spLocks noChangeAspect="1" noChangeArrowheads="1"/>
            </p:cNvSpPr>
            <p:nvPr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2" name="Oval 1123"/>
            <p:cNvSpPr>
              <a:spLocks noChangeAspect="1" noChangeArrowheads="1"/>
            </p:cNvSpPr>
            <p:nvPr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3" name="Oval 1124"/>
            <p:cNvSpPr>
              <a:spLocks noChangeAspect="1" noChangeArrowheads="1"/>
            </p:cNvSpPr>
            <p:nvPr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4" name="Oval 1125"/>
            <p:cNvSpPr>
              <a:spLocks noChangeAspect="1" noChangeArrowheads="1"/>
            </p:cNvSpPr>
            <p:nvPr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5" name="Oval 1126"/>
            <p:cNvSpPr>
              <a:spLocks noChangeAspect="1" noChangeArrowheads="1"/>
            </p:cNvSpPr>
            <p:nvPr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6" name="Oval 1127"/>
            <p:cNvSpPr>
              <a:spLocks noChangeAspect="1" noChangeArrowheads="1"/>
            </p:cNvSpPr>
            <p:nvPr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7" name="Oval 1128"/>
            <p:cNvSpPr>
              <a:spLocks noChangeAspect="1" noChangeArrowheads="1"/>
            </p:cNvSpPr>
            <p:nvPr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8" name="Oval 1129"/>
            <p:cNvSpPr>
              <a:spLocks noChangeAspect="1" noChangeArrowheads="1"/>
            </p:cNvSpPr>
            <p:nvPr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9" name="Oval 1130"/>
            <p:cNvSpPr>
              <a:spLocks noChangeAspect="1" noChangeArrowheads="1"/>
            </p:cNvSpPr>
            <p:nvPr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0" name="Oval 1131"/>
            <p:cNvSpPr>
              <a:spLocks noChangeAspect="1" noChangeArrowheads="1"/>
            </p:cNvSpPr>
            <p:nvPr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1" name="Oval 1132"/>
            <p:cNvSpPr>
              <a:spLocks noChangeAspect="1" noChangeArrowheads="1"/>
            </p:cNvSpPr>
            <p:nvPr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2" name="Oval 1133"/>
            <p:cNvSpPr>
              <a:spLocks noChangeAspect="1" noChangeArrowheads="1"/>
            </p:cNvSpPr>
            <p:nvPr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3" name="Oval 1134"/>
            <p:cNvSpPr>
              <a:spLocks noChangeAspect="1" noChangeArrowheads="1"/>
            </p:cNvSpPr>
            <p:nvPr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4" name="Oval 1135"/>
            <p:cNvSpPr>
              <a:spLocks noChangeAspect="1" noChangeArrowheads="1"/>
            </p:cNvSpPr>
            <p:nvPr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5" name="Oval 1136"/>
            <p:cNvSpPr>
              <a:spLocks noChangeAspect="1" noChangeArrowheads="1"/>
            </p:cNvSpPr>
            <p:nvPr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6" name="Oval 1137"/>
            <p:cNvSpPr>
              <a:spLocks noChangeAspect="1" noChangeArrowheads="1"/>
            </p:cNvSpPr>
            <p:nvPr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7" name="Oval 1138"/>
            <p:cNvSpPr>
              <a:spLocks noChangeAspect="1" noChangeArrowheads="1"/>
            </p:cNvSpPr>
            <p:nvPr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8" name="Oval 1139"/>
            <p:cNvSpPr>
              <a:spLocks noChangeAspect="1" noChangeArrowheads="1"/>
            </p:cNvSpPr>
            <p:nvPr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9" name="Oval 1140"/>
            <p:cNvSpPr>
              <a:spLocks noChangeAspect="1" noChangeArrowheads="1"/>
            </p:cNvSpPr>
            <p:nvPr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0" name="Oval 1141"/>
            <p:cNvSpPr>
              <a:spLocks noChangeAspect="1" noChangeArrowheads="1"/>
            </p:cNvSpPr>
            <p:nvPr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1" name="Oval 1142"/>
            <p:cNvSpPr>
              <a:spLocks noChangeAspect="1" noChangeArrowheads="1"/>
            </p:cNvSpPr>
            <p:nvPr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2" name="Oval 1143"/>
            <p:cNvSpPr>
              <a:spLocks noChangeAspect="1" noChangeArrowheads="1"/>
            </p:cNvSpPr>
            <p:nvPr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3" name="Oval 1144"/>
            <p:cNvSpPr>
              <a:spLocks noChangeAspect="1" noChangeArrowheads="1"/>
            </p:cNvSpPr>
            <p:nvPr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4" name="Oval 1145"/>
            <p:cNvSpPr>
              <a:spLocks noChangeAspect="1" noChangeArrowheads="1"/>
            </p:cNvSpPr>
            <p:nvPr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5" name="Oval 1146"/>
            <p:cNvSpPr>
              <a:spLocks noChangeAspect="1" noChangeArrowheads="1"/>
            </p:cNvSpPr>
            <p:nvPr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6" name="Oval 1147"/>
            <p:cNvSpPr>
              <a:spLocks noChangeAspect="1" noChangeArrowheads="1"/>
            </p:cNvSpPr>
            <p:nvPr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7" name="Oval 1148"/>
            <p:cNvSpPr>
              <a:spLocks noChangeAspect="1" noChangeArrowheads="1"/>
            </p:cNvSpPr>
            <p:nvPr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8" name="Oval 1149"/>
            <p:cNvSpPr>
              <a:spLocks noChangeAspect="1" noChangeArrowheads="1"/>
            </p:cNvSpPr>
            <p:nvPr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9" name="Oval 1150"/>
            <p:cNvSpPr>
              <a:spLocks noChangeAspect="1" noChangeArrowheads="1"/>
            </p:cNvSpPr>
            <p:nvPr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0" name="Oval 1151"/>
            <p:cNvSpPr>
              <a:spLocks noChangeAspect="1" noChangeArrowheads="1"/>
            </p:cNvSpPr>
            <p:nvPr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1" name="Oval 1152"/>
            <p:cNvSpPr>
              <a:spLocks noChangeAspect="1" noChangeArrowheads="1"/>
            </p:cNvSpPr>
            <p:nvPr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2" name="Oval 1153"/>
            <p:cNvSpPr>
              <a:spLocks noChangeAspect="1" noChangeArrowheads="1"/>
            </p:cNvSpPr>
            <p:nvPr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3" name="Oval 1154"/>
            <p:cNvSpPr>
              <a:spLocks noChangeAspect="1" noChangeArrowheads="1"/>
            </p:cNvSpPr>
            <p:nvPr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4" name="Oval 1155"/>
            <p:cNvSpPr>
              <a:spLocks noChangeAspect="1" noChangeArrowheads="1"/>
            </p:cNvSpPr>
            <p:nvPr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5" name="Oval 1156"/>
            <p:cNvSpPr>
              <a:spLocks noChangeAspect="1" noChangeArrowheads="1"/>
            </p:cNvSpPr>
            <p:nvPr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6" name="Oval 1157"/>
            <p:cNvSpPr>
              <a:spLocks noChangeAspect="1" noChangeArrowheads="1"/>
            </p:cNvSpPr>
            <p:nvPr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7" name="Oval 1158"/>
            <p:cNvSpPr>
              <a:spLocks noChangeAspect="1" noChangeArrowheads="1"/>
            </p:cNvSpPr>
            <p:nvPr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8" name="Oval 1159"/>
            <p:cNvSpPr>
              <a:spLocks noChangeAspect="1" noChangeArrowheads="1"/>
            </p:cNvSpPr>
            <p:nvPr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9" name="Oval 1160"/>
            <p:cNvSpPr>
              <a:spLocks noChangeAspect="1" noChangeArrowheads="1"/>
            </p:cNvSpPr>
            <p:nvPr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0" name="Oval 1161"/>
            <p:cNvSpPr>
              <a:spLocks noChangeAspect="1" noChangeArrowheads="1"/>
            </p:cNvSpPr>
            <p:nvPr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1" name="Oval 1162"/>
            <p:cNvSpPr>
              <a:spLocks noChangeAspect="1" noChangeArrowheads="1"/>
            </p:cNvSpPr>
            <p:nvPr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2" name="Oval 1163"/>
            <p:cNvSpPr>
              <a:spLocks noChangeAspect="1" noChangeArrowheads="1"/>
            </p:cNvSpPr>
            <p:nvPr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3" name="Oval 1164"/>
            <p:cNvSpPr>
              <a:spLocks noChangeAspect="1" noChangeArrowheads="1"/>
            </p:cNvSpPr>
            <p:nvPr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4" name="Oval 1165"/>
            <p:cNvSpPr>
              <a:spLocks noChangeAspect="1" noChangeArrowheads="1"/>
            </p:cNvSpPr>
            <p:nvPr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5" name="Oval 1166"/>
            <p:cNvSpPr>
              <a:spLocks noChangeAspect="1" noChangeArrowheads="1"/>
            </p:cNvSpPr>
            <p:nvPr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6" name="Oval 1167"/>
            <p:cNvSpPr>
              <a:spLocks noChangeAspect="1" noChangeArrowheads="1"/>
            </p:cNvSpPr>
            <p:nvPr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7" name="Oval 1168"/>
            <p:cNvSpPr>
              <a:spLocks noChangeAspect="1" noChangeArrowheads="1"/>
            </p:cNvSpPr>
            <p:nvPr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8" name="Oval 1169"/>
            <p:cNvSpPr>
              <a:spLocks noChangeAspect="1" noChangeArrowheads="1"/>
            </p:cNvSpPr>
            <p:nvPr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9" name="Oval 1170"/>
            <p:cNvSpPr>
              <a:spLocks noChangeAspect="1" noChangeArrowheads="1"/>
            </p:cNvSpPr>
            <p:nvPr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0" name="Oval 1171"/>
            <p:cNvSpPr>
              <a:spLocks noChangeAspect="1" noChangeArrowheads="1"/>
            </p:cNvSpPr>
            <p:nvPr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1" name="Oval 1172"/>
            <p:cNvSpPr>
              <a:spLocks noChangeAspect="1" noChangeArrowheads="1"/>
            </p:cNvSpPr>
            <p:nvPr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2" name="Oval 1173"/>
            <p:cNvSpPr>
              <a:spLocks noChangeAspect="1" noChangeArrowheads="1"/>
            </p:cNvSpPr>
            <p:nvPr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3" name="Oval 1174"/>
            <p:cNvSpPr>
              <a:spLocks noChangeAspect="1" noChangeArrowheads="1"/>
            </p:cNvSpPr>
            <p:nvPr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4" name="Oval 1175"/>
            <p:cNvSpPr>
              <a:spLocks noChangeAspect="1" noChangeArrowheads="1"/>
            </p:cNvSpPr>
            <p:nvPr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5" name="Oval 1176"/>
            <p:cNvSpPr>
              <a:spLocks noChangeAspect="1" noChangeArrowheads="1"/>
            </p:cNvSpPr>
            <p:nvPr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6" name="Oval 1177"/>
            <p:cNvSpPr>
              <a:spLocks noChangeAspect="1" noChangeArrowheads="1"/>
            </p:cNvSpPr>
            <p:nvPr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7" name="Oval 1178"/>
            <p:cNvSpPr>
              <a:spLocks noChangeAspect="1" noChangeArrowheads="1"/>
            </p:cNvSpPr>
            <p:nvPr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8" name="Oval 1179"/>
            <p:cNvSpPr>
              <a:spLocks noChangeAspect="1" noChangeArrowheads="1"/>
            </p:cNvSpPr>
            <p:nvPr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9" name="Oval 1180"/>
            <p:cNvSpPr>
              <a:spLocks noChangeAspect="1" noChangeArrowheads="1"/>
            </p:cNvSpPr>
            <p:nvPr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0" name="Oval 1181"/>
            <p:cNvSpPr>
              <a:spLocks noChangeAspect="1" noChangeArrowheads="1"/>
            </p:cNvSpPr>
            <p:nvPr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1" name="Oval 1182"/>
            <p:cNvSpPr>
              <a:spLocks noChangeAspect="1" noChangeArrowheads="1"/>
            </p:cNvSpPr>
            <p:nvPr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2" name="Oval 1183"/>
            <p:cNvSpPr>
              <a:spLocks noChangeAspect="1" noChangeArrowheads="1"/>
            </p:cNvSpPr>
            <p:nvPr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3" name="Oval 1184"/>
            <p:cNvSpPr>
              <a:spLocks noChangeAspect="1" noChangeArrowheads="1"/>
            </p:cNvSpPr>
            <p:nvPr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4" name="Oval 1185"/>
            <p:cNvSpPr>
              <a:spLocks noChangeAspect="1" noChangeArrowheads="1"/>
            </p:cNvSpPr>
            <p:nvPr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5" name="Oval 1186"/>
            <p:cNvSpPr>
              <a:spLocks noChangeAspect="1" noChangeArrowheads="1"/>
            </p:cNvSpPr>
            <p:nvPr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6" name="Oval 1187"/>
            <p:cNvSpPr>
              <a:spLocks noChangeAspect="1" noChangeArrowheads="1"/>
            </p:cNvSpPr>
            <p:nvPr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7" name="Oval 1188"/>
            <p:cNvSpPr>
              <a:spLocks noChangeAspect="1" noChangeArrowheads="1"/>
            </p:cNvSpPr>
            <p:nvPr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8" name="Oval 1189"/>
            <p:cNvSpPr>
              <a:spLocks noChangeAspect="1" noChangeArrowheads="1"/>
            </p:cNvSpPr>
            <p:nvPr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9" name="Oval 1190"/>
            <p:cNvSpPr>
              <a:spLocks noChangeAspect="1" noChangeArrowheads="1"/>
            </p:cNvSpPr>
            <p:nvPr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0" name="Oval 1191"/>
            <p:cNvSpPr>
              <a:spLocks noChangeAspect="1" noChangeArrowheads="1"/>
            </p:cNvSpPr>
            <p:nvPr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1" name="Oval 1192"/>
            <p:cNvSpPr>
              <a:spLocks noChangeAspect="1" noChangeArrowheads="1"/>
            </p:cNvSpPr>
            <p:nvPr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2" name="Oval 1193"/>
            <p:cNvSpPr>
              <a:spLocks noChangeAspect="1" noChangeArrowheads="1"/>
            </p:cNvSpPr>
            <p:nvPr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3" name="Oval 1194"/>
            <p:cNvSpPr>
              <a:spLocks noChangeAspect="1" noChangeArrowheads="1"/>
            </p:cNvSpPr>
            <p:nvPr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4" name="Oval 1195"/>
            <p:cNvSpPr>
              <a:spLocks noChangeAspect="1" noChangeArrowheads="1"/>
            </p:cNvSpPr>
            <p:nvPr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5" name="Oval 1196"/>
            <p:cNvSpPr>
              <a:spLocks noChangeAspect="1" noChangeArrowheads="1"/>
            </p:cNvSpPr>
            <p:nvPr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6" name="Oval 1197"/>
            <p:cNvSpPr>
              <a:spLocks noChangeAspect="1" noChangeArrowheads="1"/>
            </p:cNvSpPr>
            <p:nvPr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7" name="Oval 1198"/>
            <p:cNvSpPr>
              <a:spLocks noChangeAspect="1" noChangeArrowheads="1"/>
            </p:cNvSpPr>
            <p:nvPr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8" name="Oval 1199"/>
            <p:cNvSpPr>
              <a:spLocks noChangeAspect="1" noChangeArrowheads="1"/>
            </p:cNvSpPr>
            <p:nvPr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9" name="Oval 1200"/>
            <p:cNvSpPr>
              <a:spLocks noChangeAspect="1" noChangeArrowheads="1"/>
            </p:cNvSpPr>
            <p:nvPr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0" name="Oval 1201"/>
            <p:cNvSpPr>
              <a:spLocks noChangeAspect="1" noChangeArrowheads="1"/>
            </p:cNvSpPr>
            <p:nvPr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1" name="Oval 1202"/>
            <p:cNvSpPr>
              <a:spLocks noChangeAspect="1" noChangeArrowheads="1"/>
            </p:cNvSpPr>
            <p:nvPr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2" name="Oval 1203"/>
            <p:cNvSpPr>
              <a:spLocks noChangeAspect="1" noChangeArrowheads="1"/>
            </p:cNvSpPr>
            <p:nvPr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3" name="Oval 1204"/>
            <p:cNvSpPr>
              <a:spLocks noChangeAspect="1" noChangeArrowheads="1"/>
            </p:cNvSpPr>
            <p:nvPr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4" name="Oval 1205"/>
            <p:cNvSpPr>
              <a:spLocks noChangeAspect="1" noChangeArrowheads="1"/>
            </p:cNvSpPr>
            <p:nvPr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5" name="Oval 1206"/>
            <p:cNvSpPr>
              <a:spLocks noChangeAspect="1" noChangeArrowheads="1"/>
            </p:cNvSpPr>
            <p:nvPr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6" name="Oval 1207"/>
            <p:cNvSpPr>
              <a:spLocks noChangeAspect="1" noChangeArrowheads="1"/>
            </p:cNvSpPr>
            <p:nvPr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7" name="Oval 1208"/>
            <p:cNvSpPr>
              <a:spLocks noChangeAspect="1" noChangeArrowheads="1"/>
            </p:cNvSpPr>
            <p:nvPr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8" name="Oval 1209"/>
            <p:cNvSpPr>
              <a:spLocks noChangeAspect="1" noChangeArrowheads="1"/>
            </p:cNvSpPr>
            <p:nvPr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9" name="Oval 1210"/>
            <p:cNvSpPr>
              <a:spLocks noChangeAspect="1" noChangeArrowheads="1"/>
            </p:cNvSpPr>
            <p:nvPr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0" name="Oval 1211"/>
            <p:cNvSpPr>
              <a:spLocks noChangeAspect="1" noChangeArrowheads="1"/>
            </p:cNvSpPr>
            <p:nvPr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1" name="Oval 1212"/>
            <p:cNvSpPr>
              <a:spLocks noChangeAspect="1" noChangeArrowheads="1"/>
            </p:cNvSpPr>
            <p:nvPr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2" name="Oval 1213"/>
            <p:cNvSpPr>
              <a:spLocks noChangeAspect="1" noChangeArrowheads="1"/>
            </p:cNvSpPr>
            <p:nvPr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3" name="Oval 1214"/>
            <p:cNvSpPr>
              <a:spLocks noChangeAspect="1" noChangeArrowheads="1"/>
            </p:cNvSpPr>
            <p:nvPr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4" name="Oval 1215"/>
            <p:cNvSpPr>
              <a:spLocks noChangeAspect="1" noChangeArrowheads="1"/>
            </p:cNvSpPr>
            <p:nvPr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5" name="Oval 1216"/>
            <p:cNvSpPr>
              <a:spLocks noChangeAspect="1" noChangeArrowheads="1"/>
            </p:cNvSpPr>
            <p:nvPr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6" name="Oval 1217"/>
            <p:cNvSpPr>
              <a:spLocks noChangeAspect="1" noChangeArrowheads="1"/>
            </p:cNvSpPr>
            <p:nvPr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7" name="Oval 1218"/>
            <p:cNvSpPr>
              <a:spLocks noChangeAspect="1" noChangeArrowheads="1"/>
            </p:cNvSpPr>
            <p:nvPr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8" name="Oval 1219"/>
            <p:cNvSpPr>
              <a:spLocks noChangeAspect="1" noChangeArrowheads="1"/>
            </p:cNvSpPr>
            <p:nvPr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9" name="Oval 1220"/>
            <p:cNvSpPr>
              <a:spLocks noChangeAspect="1" noChangeArrowheads="1"/>
            </p:cNvSpPr>
            <p:nvPr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0" name="Oval 1221"/>
            <p:cNvSpPr>
              <a:spLocks noChangeAspect="1" noChangeArrowheads="1"/>
            </p:cNvSpPr>
            <p:nvPr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1" name="Oval 1222"/>
            <p:cNvSpPr>
              <a:spLocks noChangeAspect="1" noChangeArrowheads="1"/>
            </p:cNvSpPr>
            <p:nvPr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2" name="Oval 1223"/>
            <p:cNvSpPr>
              <a:spLocks noChangeAspect="1" noChangeArrowheads="1"/>
            </p:cNvSpPr>
            <p:nvPr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1384" name="组合 1383"/>
          <p:cNvGrpSpPr/>
          <p:nvPr/>
        </p:nvGrpSpPr>
        <p:grpSpPr>
          <a:xfrm>
            <a:off x="960498" y="1908382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139" name="直接连接符 138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  <a:endParaRPr lang="en-US" sz="11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383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/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1385" name="TextBox 57"/>
          <p:cNvSpPr txBox="1"/>
          <p:nvPr/>
        </p:nvSpPr>
        <p:spPr>
          <a:xfrm>
            <a:off x="915125" y="3037694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388" name="TextBox 60"/>
          <p:cNvSpPr txBox="1"/>
          <p:nvPr/>
        </p:nvSpPr>
        <p:spPr>
          <a:xfrm>
            <a:off x="915125" y="2420265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389" name="TextBox 61"/>
          <p:cNvSpPr txBox="1"/>
          <p:nvPr/>
        </p:nvSpPr>
        <p:spPr>
          <a:xfrm>
            <a:off x="915125" y="4435454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391" name="TextBox 81"/>
          <p:cNvSpPr txBox="1"/>
          <p:nvPr/>
        </p:nvSpPr>
        <p:spPr>
          <a:xfrm>
            <a:off x="915125" y="3818026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392" name="TextBox 60"/>
          <p:cNvSpPr txBox="1"/>
          <p:nvPr/>
        </p:nvSpPr>
        <p:spPr>
          <a:xfrm>
            <a:off x="1380798" y="4965342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1395" name="组合 1394"/>
          <p:cNvGrpSpPr/>
          <p:nvPr/>
        </p:nvGrpSpPr>
        <p:grpSpPr>
          <a:xfrm>
            <a:off x="4529170" y="1794773"/>
            <a:ext cx="3027428" cy="4128455"/>
            <a:chOff x="647529" y="1264920"/>
            <a:chExt cx="3497751" cy="4769827"/>
          </a:xfrm>
        </p:grpSpPr>
        <p:sp>
          <p:nvSpPr>
            <p:cNvPr id="2621" name="矩形 2620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622" name="组合 2621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2623" name="矩形 2622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24" name="等腰三角形 2623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1396" name="Group 2"/>
          <p:cNvGrpSpPr/>
          <p:nvPr/>
        </p:nvGrpSpPr>
        <p:grpSpPr>
          <a:xfrm flipH="1">
            <a:off x="5007430" y="2899005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1406" name="Oval 9"/>
            <p:cNvSpPr>
              <a:spLocks noChangeAspect="1" noChangeArrowheads="1"/>
            </p:cNvSpPr>
            <p:nvPr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7" name="Oval 10"/>
            <p:cNvSpPr>
              <a:spLocks noChangeAspect="1" noChangeArrowheads="1"/>
            </p:cNvSpPr>
            <p:nvPr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8" name="Oval 11"/>
            <p:cNvSpPr>
              <a:spLocks noChangeAspect="1" noChangeArrowheads="1"/>
            </p:cNvSpPr>
            <p:nvPr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9" name="Oval 12"/>
            <p:cNvSpPr>
              <a:spLocks noChangeAspect="1" noChangeArrowheads="1"/>
            </p:cNvSpPr>
            <p:nvPr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0" name="Oval 13"/>
            <p:cNvSpPr>
              <a:spLocks noChangeAspect="1" noChangeArrowheads="1"/>
            </p:cNvSpPr>
            <p:nvPr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1" name="Oval 14"/>
            <p:cNvSpPr>
              <a:spLocks noChangeAspect="1" noChangeArrowheads="1"/>
            </p:cNvSpPr>
            <p:nvPr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2" name="Oval 15"/>
            <p:cNvSpPr>
              <a:spLocks noChangeAspect="1" noChangeArrowheads="1"/>
            </p:cNvSpPr>
            <p:nvPr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3" name="Oval 16"/>
            <p:cNvSpPr>
              <a:spLocks noChangeAspect="1" noChangeArrowheads="1"/>
            </p:cNvSpPr>
            <p:nvPr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4" name="Oval 17"/>
            <p:cNvSpPr>
              <a:spLocks noChangeAspect="1" noChangeArrowheads="1"/>
            </p:cNvSpPr>
            <p:nvPr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5" name="Oval 18"/>
            <p:cNvSpPr>
              <a:spLocks noChangeAspect="1" noChangeArrowheads="1"/>
            </p:cNvSpPr>
            <p:nvPr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6" name="Oval 19"/>
            <p:cNvSpPr>
              <a:spLocks noChangeAspect="1" noChangeArrowheads="1"/>
            </p:cNvSpPr>
            <p:nvPr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7" name="Oval 20"/>
            <p:cNvSpPr>
              <a:spLocks noChangeAspect="1" noChangeArrowheads="1"/>
            </p:cNvSpPr>
            <p:nvPr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8" name="Oval 21"/>
            <p:cNvSpPr>
              <a:spLocks noChangeAspect="1" noChangeArrowheads="1"/>
            </p:cNvSpPr>
            <p:nvPr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9" name="Oval 22"/>
            <p:cNvSpPr>
              <a:spLocks noChangeAspect="1" noChangeArrowheads="1"/>
            </p:cNvSpPr>
            <p:nvPr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0" name="Oval 23"/>
            <p:cNvSpPr>
              <a:spLocks noChangeAspect="1" noChangeArrowheads="1"/>
            </p:cNvSpPr>
            <p:nvPr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1" name="Oval 24"/>
            <p:cNvSpPr>
              <a:spLocks noChangeAspect="1" noChangeArrowheads="1"/>
            </p:cNvSpPr>
            <p:nvPr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2" name="Oval 25"/>
            <p:cNvSpPr>
              <a:spLocks noChangeAspect="1" noChangeArrowheads="1"/>
            </p:cNvSpPr>
            <p:nvPr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3" name="Oval 26"/>
            <p:cNvSpPr>
              <a:spLocks noChangeAspect="1" noChangeArrowheads="1"/>
            </p:cNvSpPr>
            <p:nvPr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4" name="Oval 27"/>
            <p:cNvSpPr>
              <a:spLocks noChangeAspect="1" noChangeArrowheads="1"/>
            </p:cNvSpPr>
            <p:nvPr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5" name="Oval 28"/>
            <p:cNvSpPr>
              <a:spLocks noChangeAspect="1" noChangeArrowheads="1"/>
            </p:cNvSpPr>
            <p:nvPr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6" name="Oval 29"/>
            <p:cNvSpPr>
              <a:spLocks noChangeAspect="1" noChangeArrowheads="1"/>
            </p:cNvSpPr>
            <p:nvPr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7" name="Oval 30"/>
            <p:cNvSpPr>
              <a:spLocks noChangeAspect="1" noChangeArrowheads="1"/>
            </p:cNvSpPr>
            <p:nvPr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8" name="Oval 31"/>
            <p:cNvSpPr>
              <a:spLocks noChangeAspect="1" noChangeArrowheads="1"/>
            </p:cNvSpPr>
            <p:nvPr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9" name="Oval 32"/>
            <p:cNvSpPr>
              <a:spLocks noChangeAspect="1" noChangeArrowheads="1"/>
            </p:cNvSpPr>
            <p:nvPr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0" name="Oval 33"/>
            <p:cNvSpPr>
              <a:spLocks noChangeAspect="1" noChangeArrowheads="1"/>
            </p:cNvSpPr>
            <p:nvPr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1" name="Oval 34"/>
            <p:cNvSpPr>
              <a:spLocks noChangeAspect="1" noChangeArrowheads="1"/>
            </p:cNvSpPr>
            <p:nvPr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2" name="Oval 35"/>
            <p:cNvSpPr>
              <a:spLocks noChangeAspect="1" noChangeArrowheads="1"/>
            </p:cNvSpPr>
            <p:nvPr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3" name="Oval 36"/>
            <p:cNvSpPr>
              <a:spLocks noChangeAspect="1" noChangeArrowheads="1"/>
            </p:cNvSpPr>
            <p:nvPr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4" name="Oval 37"/>
            <p:cNvSpPr>
              <a:spLocks noChangeAspect="1" noChangeArrowheads="1"/>
            </p:cNvSpPr>
            <p:nvPr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5" name="Oval 38"/>
            <p:cNvSpPr>
              <a:spLocks noChangeAspect="1" noChangeArrowheads="1"/>
            </p:cNvSpPr>
            <p:nvPr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6" name="Oval 39"/>
            <p:cNvSpPr>
              <a:spLocks noChangeAspect="1" noChangeArrowheads="1"/>
            </p:cNvSpPr>
            <p:nvPr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7" name="Oval 40"/>
            <p:cNvSpPr>
              <a:spLocks noChangeAspect="1" noChangeArrowheads="1"/>
            </p:cNvSpPr>
            <p:nvPr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8" name="Oval 41"/>
            <p:cNvSpPr>
              <a:spLocks noChangeAspect="1" noChangeArrowheads="1"/>
            </p:cNvSpPr>
            <p:nvPr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9" name="Oval 42"/>
            <p:cNvSpPr>
              <a:spLocks noChangeAspect="1" noChangeArrowheads="1"/>
            </p:cNvSpPr>
            <p:nvPr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0" name="Oval 43"/>
            <p:cNvSpPr>
              <a:spLocks noChangeAspect="1" noChangeArrowheads="1"/>
            </p:cNvSpPr>
            <p:nvPr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1" name="Oval 44"/>
            <p:cNvSpPr>
              <a:spLocks noChangeAspect="1" noChangeArrowheads="1"/>
            </p:cNvSpPr>
            <p:nvPr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2" name="Oval 45"/>
            <p:cNvSpPr>
              <a:spLocks noChangeAspect="1" noChangeArrowheads="1"/>
            </p:cNvSpPr>
            <p:nvPr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3" name="Oval 46"/>
            <p:cNvSpPr>
              <a:spLocks noChangeAspect="1" noChangeArrowheads="1"/>
            </p:cNvSpPr>
            <p:nvPr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4" name="Oval 47"/>
            <p:cNvSpPr>
              <a:spLocks noChangeAspect="1" noChangeArrowheads="1"/>
            </p:cNvSpPr>
            <p:nvPr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5" name="Oval 48"/>
            <p:cNvSpPr>
              <a:spLocks noChangeAspect="1" noChangeArrowheads="1"/>
            </p:cNvSpPr>
            <p:nvPr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6" name="Oval 49"/>
            <p:cNvSpPr>
              <a:spLocks noChangeAspect="1" noChangeArrowheads="1"/>
            </p:cNvSpPr>
            <p:nvPr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7" name="Oval 50"/>
            <p:cNvSpPr>
              <a:spLocks noChangeAspect="1" noChangeArrowheads="1"/>
            </p:cNvSpPr>
            <p:nvPr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8" name="Oval 51"/>
            <p:cNvSpPr>
              <a:spLocks noChangeAspect="1" noChangeArrowheads="1"/>
            </p:cNvSpPr>
            <p:nvPr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9" name="Oval 52"/>
            <p:cNvSpPr>
              <a:spLocks noChangeAspect="1" noChangeArrowheads="1"/>
            </p:cNvSpPr>
            <p:nvPr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0" name="Oval 53"/>
            <p:cNvSpPr>
              <a:spLocks noChangeAspect="1" noChangeArrowheads="1"/>
            </p:cNvSpPr>
            <p:nvPr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1" name="Oval 54"/>
            <p:cNvSpPr>
              <a:spLocks noChangeAspect="1" noChangeArrowheads="1"/>
            </p:cNvSpPr>
            <p:nvPr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2" name="Oval 55"/>
            <p:cNvSpPr>
              <a:spLocks noChangeAspect="1" noChangeArrowheads="1"/>
            </p:cNvSpPr>
            <p:nvPr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3" name="Oval 56"/>
            <p:cNvSpPr>
              <a:spLocks noChangeAspect="1" noChangeArrowheads="1"/>
            </p:cNvSpPr>
            <p:nvPr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4" name="Oval 57"/>
            <p:cNvSpPr>
              <a:spLocks noChangeAspect="1" noChangeArrowheads="1"/>
            </p:cNvSpPr>
            <p:nvPr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5" name="Oval 58"/>
            <p:cNvSpPr>
              <a:spLocks noChangeAspect="1" noChangeArrowheads="1"/>
            </p:cNvSpPr>
            <p:nvPr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6" name="Oval 59"/>
            <p:cNvSpPr>
              <a:spLocks noChangeAspect="1" noChangeArrowheads="1"/>
            </p:cNvSpPr>
            <p:nvPr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7" name="Oval 60"/>
            <p:cNvSpPr>
              <a:spLocks noChangeAspect="1" noChangeArrowheads="1"/>
            </p:cNvSpPr>
            <p:nvPr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8" name="Oval 61"/>
            <p:cNvSpPr>
              <a:spLocks noChangeAspect="1" noChangeArrowheads="1"/>
            </p:cNvSpPr>
            <p:nvPr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9" name="Oval 62"/>
            <p:cNvSpPr>
              <a:spLocks noChangeAspect="1" noChangeArrowheads="1"/>
            </p:cNvSpPr>
            <p:nvPr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0" name="Oval 63"/>
            <p:cNvSpPr>
              <a:spLocks noChangeAspect="1" noChangeArrowheads="1"/>
            </p:cNvSpPr>
            <p:nvPr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1" name="Oval 64"/>
            <p:cNvSpPr>
              <a:spLocks noChangeAspect="1" noChangeArrowheads="1"/>
            </p:cNvSpPr>
            <p:nvPr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2" name="Oval 65"/>
            <p:cNvSpPr>
              <a:spLocks noChangeAspect="1" noChangeArrowheads="1"/>
            </p:cNvSpPr>
            <p:nvPr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3" name="Oval 66"/>
            <p:cNvSpPr>
              <a:spLocks noChangeAspect="1" noChangeArrowheads="1"/>
            </p:cNvSpPr>
            <p:nvPr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4" name="Oval 67"/>
            <p:cNvSpPr>
              <a:spLocks noChangeAspect="1" noChangeArrowheads="1"/>
            </p:cNvSpPr>
            <p:nvPr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5" name="Oval 68"/>
            <p:cNvSpPr>
              <a:spLocks noChangeAspect="1" noChangeArrowheads="1"/>
            </p:cNvSpPr>
            <p:nvPr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6" name="Oval 69"/>
            <p:cNvSpPr>
              <a:spLocks noChangeAspect="1" noChangeArrowheads="1"/>
            </p:cNvSpPr>
            <p:nvPr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7" name="Oval 70"/>
            <p:cNvSpPr>
              <a:spLocks noChangeAspect="1" noChangeArrowheads="1"/>
            </p:cNvSpPr>
            <p:nvPr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8" name="Oval 71"/>
            <p:cNvSpPr>
              <a:spLocks noChangeAspect="1" noChangeArrowheads="1"/>
            </p:cNvSpPr>
            <p:nvPr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9" name="Oval 72"/>
            <p:cNvSpPr>
              <a:spLocks noChangeAspect="1" noChangeArrowheads="1"/>
            </p:cNvSpPr>
            <p:nvPr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0" name="Oval 73"/>
            <p:cNvSpPr>
              <a:spLocks noChangeAspect="1" noChangeArrowheads="1"/>
            </p:cNvSpPr>
            <p:nvPr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1" name="Oval 74"/>
            <p:cNvSpPr>
              <a:spLocks noChangeAspect="1" noChangeArrowheads="1"/>
            </p:cNvSpPr>
            <p:nvPr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2" name="Oval 75"/>
            <p:cNvSpPr>
              <a:spLocks noChangeAspect="1" noChangeArrowheads="1"/>
            </p:cNvSpPr>
            <p:nvPr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3" name="Oval 76"/>
            <p:cNvSpPr>
              <a:spLocks noChangeAspect="1" noChangeArrowheads="1"/>
            </p:cNvSpPr>
            <p:nvPr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4" name="Oval 77"/>
            <p:cNvSpPr>
              <a:spLocks noChangeAspect="1" noChangeArrowheads="1"/>
            </p:cNvSpPr>
            <p:nvPr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5" name="Oval 78"/>
            <p:cNvSpPr>
              <a:spLocks noChangeAspect="1" noChangeArrowheads="1"/>
            </p:cNvSpPr>
            <p:nvPr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6" name="Oval 79"/>
            <p:cNvSpPr>
              <a:spLocks noChangeAspect="1" noChangeArrowheads="1"/>
            </p:cNvSpPr>
            <p:nvPr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7" name="Oval 80"/>
            <p:cNvSpPr>
              <a:spLocks noChangeAspect="1" noChangeArrowheads="1"/>
            </p:cNvSpPr>
            <p:nvPr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8" name="Oval 81"/>
            <p:cNvSpPr>
              <a:spLocks noChangeAspect="1" noChangeArrowheads="1"/>
            </p:cNvSpPr>
            <p:nvPr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9" name="Oval 82"/>
            <p:cNvSpPr>
              <a:spLocks noChangeAspect="1" noChangeArrowheads="1"/>
            </p:cNvSpPr>
            <p:nvPr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0" name="Oval 83"/>
            <p:cNvSpPr>
              <a:spLocks noChangeAspect="1" noChangeArrowheads="1"/>
            </p:cNvSpPr>
            <p:nvPr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1" name="Oval 84"/>
            <p:cNvSpPr>
              <a:spLocks noChangeAspect="1" noChangeArrowheads="1"/>
            </p:cNvSpPr>
            <p:nvPr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2" name="Oval 85"/>
            <p:cNvSpPr>
              <a:spLocks noChangeAspect="1" noChangeArrowheads="1"/>
            </p:cNvSpPr>
            <p:nvPr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3" name="Oval 86"/>
            <p:cNvSpPr>
              <a:spLocks noChangeAspect="1" noChangeArrowheads="1"/>
            </p:cNvSpPr>
            <p:nvPr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4" name="Oval 87"/>
            <p:cNvSpPr>
              <a:spLocks noChangeAspect="1" noChangeArrowheads="1"/>
            </p:cNvSpPr>
            <p:nvPr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5" name="Oval 88"/>
            <p:cNvSpPr>
              <a:spLocks noChangeAspect="1" noChangeArrowheads="1"/>
            </p:cNvSpPr>
            <p:nvPr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6" name="Oval 89"/>
            <p:cNvSpPr>
              <a:spLocks noChangeAspect="1" noChangeArrowheads="1"/>
            </p:cNvSpPr>
            <p:nvPr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7" name="Oval 90"/>
            <p:cNvSpPr>
              <a:spLocks noChangeAspect="1" noChangeArrowheads="1"/>
            </p:cNvSpPr>
            <p:nvPr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8" name="Oval 91"/>
            <p:cNvSpPr>
              <a:spLocks noChangeAspect="1" noChangeArrowheads="1"/>
            </p:cNvSpPr>
            <p:nvPr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9" name="Oval 92"/>
            <p:cNvSpPr>
              <a:spLocks noChangeAspect="1" noChangeArrowheads="1"/>
            </p:cNvSpPr>
            <p:nvPr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0" name="Oval 93"/>
            <p:cNvSpPr>
              <a:spLocks noChangeAspect="1" noChangeArrowheads="1"/>
            </p:cNvSpPr>
            <p:nvPr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1" name="Oval 94"/>
            <p:cNvSpPr>
              <a:spLocks noChangeAspect="1" noChangeArrowheads="1"/>
            </p:cNvSpPr>
            <p:nvPr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2" name="Oval 95"/>
            <p:cNvSpPr>
              <a:spLocks noChangeAspect="1" noChangeArrowheads="1"/>
            </p:cNvSpPr>
            <p:nvPr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3" name="Oval 96"/>
            <p:cNvSpPr>
              <a:spLocks noChangeAspect="1" noChangeArrowheads="1"/>
            </p:cNvSpPr>
            <p:nvPr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4" name="Oval 97"/>
            <p:cNvSpPr>
              <a:spLocks noChangeAspect="1" noChangeArrowheads="1"/>
            </p:cNvSpPr>
            <p:nvPr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5" name="Oval 98"/>
            <p:cNvSpPr>
              <a:spLocks noChangeAspect="1" noChangeArrowheads="1"/>
            </p:cNvSpPr>
            <p:nvPr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6" name="Oval 99"/>
            <p:cNvSpPr>
              <a:spLocks noChangeAspect="1" noChangeArrowheads="1"/>
            </p:cNvSpPr>
            <p:nvPr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7" name="Oval 100"/>
            <p:cNvSpPr>
              <a:spLocks noChangeAspect="1" noChangeArrowheads="1"/>
            </p:cNvSpPr>
            <p:nvPr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8" name="Oval 101"/>
            <p:cNvSpPr>
              <a:spLocks noChangeAspect="1" noChangeArrowheads="1"/>
            </p:cNvSpPr>
            <p:nvPr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9" name="Oval 102"/>
            <p:cNvSpPr>
              <a:spLocks noChangeAspect="1" noChangeArrowheads="1"/>
            </p:cNvSpPr>
            <p:nvPr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0" name="Oval 103"/>
            <p:cNvSpPr>
              <a:spLocks noChangeAspect="1" noChangeArrowheads="1"/>
            </p:cNvSpPr>
            <p:nvPr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1" name="Oval 104"/>
            <p:cNvSpPr>
              <a:spLocks noChangeAspect="1" noChangeArrowheads="1"/>
            </p:cNvSpPr>
            <p:nvPr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2" name="Oval 105"/>
            <p:cNvSpPr>
              <a:spLocks noChangeAspect="1" noChangeArrowheads="1"/>
            </p:cNvSpPr>
            <p:nvPr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3" name="Oval 106"/>
            <p:cNvSpPr>
              <a:spLocks noChangeAspect="1" noChangeArrowheads="1"/>
            </p:cNvSpPr>
            <p:nvPr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4" name="Oval 107"/>
            <p:cNvSpPr>
              <a:spLocks noChangeAspect="1" noChangeArrowheads="1"/>
            </p:cNvSpPr>
            <p:nvPr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5" name="Oval 108"/>
            <p:cNvSpPr>
              <a:spLocks noChangeAspect="1" noChangeArrowheads="1"/>
            </p:cNvSpPr>
            <p:nvPr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6" name="Oval 109"/>
            <p:cNvSpPr>
              <a:spLocks noChangeAspect="1" noChangeArrowheads="1"/>
            </p:cNvSpPr>
            <p:nvPr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7" name="Oval 110"/>
            <p:cNvSpPr>
              <a:spLocks noChangeAspect="1" noChangeArrowheads="1"/>
            </p:cNvSpPr>
            <p:nvPr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8" name="Oval 111"/>
            <p:cNvSpPr>
              <a:spLocks noChangeAspect="1" noChangeArrowheads="1"/>
            </p:cNvSpPr>
            <p:nvPr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9" name="Oval 112"/>
            <p:cNvSpPr>
              <a:spLocks noChangeAspect="1" noChangeArrowheads="1"/>
            </p:cNvSpPr>
            <p:nvPr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0" name="Oval 113"/>
            <p:cNvSpPr>
              <a:spLocks noChangeAspect="1" noChangeArrowheads="1"/>
            </p:cNvSpPr>
            <p:nvPr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1" name="Oval 114"/>
            <p:cNvSpPr>
              <a:spLocks noChangeAspect="1" noChangeArrowheads="1"/>
            </p:cNvSpPr>
            <p:nvPr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2" name="Oval 115"/>
            <p:cNvSpPr>
              <a:spLocks noChangeAspect="1" noChangeArrowheads="1"/>
            </p:cNvSpPr>
            <p:nvPr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3" name="Oval 116"/>
            <p:cNvSpPr>
              <a:spLocks noChangeAspect="1" noChangeArrowheads="1"/>
            </p:cNvSpPr>
            <p:nvPr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4" name="Oval 117"/>
            <p:cNvSpPr>
              <a:spLocks noChangeAspect="1" noChangeArrowheads="1"/>
            </p:cNvSpPr>
            <p:nvPr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5" name="Oval 118"/>
            <p:cNvSpPr>
              <a:spLocks noChangeAspect="1" noChangeArrowheads="1"/>
            </p:cNvSpPr>
            <p:nvPr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6" name="Oval 119"/>
            <p:cNvSpPr>
              <a:spLocks noChangeAspect="1" noChangeArrowheads="1"/>
            </p:cNvSpPr>
            <p:nvPr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7" name="Oval 120"/>
            <p:cNvSpPr>
              <a:spLocks noChangeAspect="1" noChangeArrowheads="1"/>
            </p:cNvSpPr>
            <p:nvPr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8" name="Oval 121"/>
            <p:cNvSpPr>
              <a:spLocks noChangeAspect="1" noChangeArrowheads="1"/>
            </p:cNvSpPr>
            <p:nvPr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9" name="Oval 122"/>
            <p:cNvSpPr>
              <a:spLocks noChangeAspect="1" noChangeArrowheads="1"/>
            </p:cNvSpPr>
            <p:nvPr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0" name="Oval 123"/>
            <p:cNvSpPr>
              <a:spLocks noChangeAspect="1" noChangeArrowheads="1"/>
            </p:cNvSpPr>
            <p:nvPr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1" name="Oval 124"/>
            <p:cNvSpPr>
              <a:spLocks noChangeAspect="1" noChangeArrowheads="1"/>
            </p:cNvSpPr>
            <p:nvPr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2" name="Oval 125"/>
            <p:cNvSpPr>
              <a:spLocks noChangeAspect="1" noChangeArrowheads="1"/>
            </p:cNvSpPr>
            <p:nvPr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3" name="Oval 126"/>
            <p:cNvSpPr>
              <a:spLocks noChangeAspect="1" noChangeArrowheads="1"/>
            </p:cNvSpPr>
            <p:nvPr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4" name="Oval 127"/>
            <p:cNvSpPr>
              <a:spLocks noChangeAspect="1" noChangeArrowheads="1"/>
            </p:cNvSpPr>
            <p:nvPr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5" name="Oval 128"/>
            <p:cNvSpPr>
              <a:spLocks noChangeAspect="1" noChangeArrowheads="1"/>
            </p:cNvSpPr>
            <p:nvPr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6" name="Oval 129"/>
            <p:cNvSpPr>
              <a:spLocks noChangeAspect="1" noChangeArrowheads="1"/>
            </p:cNvSpPr>
            <p:nvPr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7" name="Oval 130"/>
            <p:cNvSpPr>
              <a:spLocks noChangeAspect="1" noChangeArrowheads="1"/>
            </p:cNvSpPr>
            <p:nvPr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8" name="Oval 131"/>
            <p:cNvSpPr>
              <a:spLocks noChangeAspect="1" noChangeArrowheads="1"/>
            </p:cNvSpPr>
            <p:nvPr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9" name="Oval 132"/>
            <p:cNvSpPr>
              <a:spLocks noChangeAspect="1" noChangeArrowheads="1"/>
            </p:cNvSpPr>
            <p:nvPr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0" name="Oval 133"/>
            <p:cNvSpPr>
              <a:spLocks noChangeAspect="1" noChangeArrowheads="1"/>
            </p:cNvSpPr>
            <p:nvPr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1" name="Oval 134"/>
            <p:cNvSpPr>
              <a:spLocks noChangeAspect="1" noChangeArrowheads="1"/>
            </p:cNvSpPr>
            <p:nvPr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2" name="Oval 135"/>
            <p:cNvSpPr>
              <a:spLocks noChangeAspect="1" noChangeArrowheads="1"/>
            </p:cNvSpPr>
            <p:nvPr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3" name="Oval 136"/>
            <p:cNvSpPr>
              <a:spLocks noChangeAspect="1" noChangeArrowheads="1"/>
            </p:cNvSpPr>
            <p:nvPr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4" name="Oval 137"/>
            <p:cNvSpPr>
              <a:spLocks noChangeAspect="1" noChangeArrowheads="1"/>
            </p:cNvSpPr>
            <p:nvPr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5" name="Oval 138"/>
            <p:cNvSpPr>
              <a:spLocks noChangeAspect="1" noChangeArrowheads="1"/>
            </p:cNvSpPr>
            <p:nvPr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6" name="Oval 139"/>
            <p:cNvSpPr>
              <a:spLocks noChangeAspect="1" noChangeArrowheads="1"/>
            </p:cNvSpPr>
            <p:nvPr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7" name="Oval 140"/>
            <p:cNvSpPr>
              <a:spLocks noChangeAspect="1" noChangeArrowheads="1"/>
            </p:cNvSpPr>
            <p:nvPr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8" name="Oval 141"/>
            <p:cNvSpPr>
              <a:spLocks noChangeAspect="1" noChangeArrowheads="1"/>
            </p:cNvSpPr>
            <p:nvPr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9" name="Oval 142"/>
            <p:cNvSpPr>
              <a:spLocks noChangeAspect="1" noChangeArrowheads="1"/>
            </p:cNvSpPr>
            <p:nvPr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0" name="Oval 143"/>
            <p:cNvSpPr>
              <a:spLocks noChangeAspect="1" noChangeArrowheads="1"/>
            </p:cNvSpPr>
            <p:nvPr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1" name="Oval 144"/>
            <p:cNvSpPr>
              <a:spLocks noChangeAspect="1" noChangeArrowheads="1"/>
            </p:cNvSpPr>
            <p:nvPr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2" name="Oval 145"/>
            <p:cNvSpPr>
              <a:spLocks noChangeAspect="1" noChangeArrowheads="1"/>
            </p:cNvSpPr>
            <p:nvPr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3" name="Oval 146"/>
            <p:cNvSpPr>
              <a:spLocks noChangeAspect="1" noChangeArrowheads="1"/>
            </p:cNvSpPr>
            <p:nvPr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4" name="Oval 147"/>
            <p:cNvSpPr>
              <a:spLocks noChangeAspect="1" noChangeArrowheads="1"/>
            </p:cNvSpPr>
            <p:nvPr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5" name="Oval 148"/>
            <p:cNvSpPr>
              <a:spLocks noChangeAspect="1" noChangeArrowheads="1"/>
            </p:cNvSpPr>
            <p:nvPr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6" name="Oval 149"/>
            <p:cNvSpPr>
              <a:spLocks noChangeAspect="1" noChangeArrowheads="1"/>
            </p:cNvSpPr>
            <p:nvPr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7" name="Oval 150"/>
            <p:cNvSpPr>
              <a:spLocks noChangeAspect="1" noChangeArrowheads="1"/>
            </p:cNvSpPr>
            <p:nvPr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8" name="Oval 151"/>
            <p:cNvSpPr>
              <a:spLocks noChangeAspect="1" noChangeArrowheads="1"/>
            </p:cNvSpPr>
            <p:nvPr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9" name="Oval 152"/>
            <p:cNvSpPr>
              <a:spLocks noChangeAspect="1" noChangeArrowheads="1"/>
            </p:cNvSpPr>
            <p:nvPr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0" name="Oval 153"/>
            <p:cNvSpPr>
              <a:spLocks noChangeAspect="1" noChangeArrowheads="1"/>
            </p:cNvSpPr>
            <p:nvPr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1" name="Oval 154"/>
            <p:cNvSpPr>
              <a:spLocks noChangeAspect="1" noChangeArrowheads="1"/>
            </p:cNvSpPr>
            <p:nvPr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2" name="Oval 155"/>
            <p:cNvSpPr>
              <a:spLocks noChangeAspect="1" noChangeArrowheads="1"/>
            </p:cNvSpPr>
            <p:nvPr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3" name="Oval 156"/>
            <p:cNvSpPr>
              <a:spLocks noChangeAspect="1" noChangeArrowheads="1"/>
            </p:cNvSpPr>
            <p:nvPr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4" name="Oval 157"/>
            <p:cNvSpPr>
              <a:spLocks noChangeAspect="1" noChangeArrowheads="1"/>
            </p:cNvSpPr>
            <p:nvPr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5" name="Oval 158"/>
            <p:cNvSpPr>
              <a:spLocks noChangeAspect="1" noChangeArrowheads="1"/>
            </p:cNvSpPr>
            <p:nvPr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6" name="Oval 159"/>
            <p:cNvSpPr>
              <a:spLocks noChangeAspect="1" noChangeArrowheads="1"/>
            </p:cNvSpPr>
            <p:nvPr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7" name="Oval 160"/>
            <p:cNvSpPr>
              <a:spLocks noChangeAspect="1" noChangeArrowheads="1"/>
            </p:cNvSpPr>
            <p:nvPr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8" name="Oval 161"/>
            <p:cNvSpPr>
              <a:spLocks noChangeAspect="1" noChangeArrowheads="1"/>
            </p:cNvSpPr>
            <p:nvPr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9" name="Oval 162"/>
            <p:cNvSpPr>
              <a:spLocks noChangeAspect="1" noChangeArrowheads="1"/>
            </p:cNvSpPr>
            <p:nvPr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0" name="Oval 163"/>
            <p:cNvSpPr>
              <a:spLocks noChangeAspect="1" noChangeArrowheads="1"/>
            </p:cNvSpPr>
            <p:nvPr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1" name="Oval 164"/>
            <p:cNvSpPr>
              <a:spLocks noChangeAspect="1" noChangeArrowheads="1"/>
            </p:cNvSpPr>
            <p:nvPr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2" name="Oval 165"/>
            <p:cNvSpPr>
              <a:spLocks noChangeAspect="1" noChangeArrowheads="1"/>
            </p:cNvSpPr>
            <p:nvPr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3" name="Oval 166"/>
            <p:cNvSpPr>
              <a:spLocks noChangeAspect="1" noChangeArrowheads="1"/>
            </p:cNvSpPr>
            <p:nvPr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4" name="Oval 167"/>
            <p:cNvSpPr>
              <a:spLocks noChangeAspect="1" noChangeArrowheads="1"/>
            </p:cNvSpPr>
            <p:nvPr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5" name="Oval 168"/>
            <p:cNvSpPr>
              <a:spLocks noChangeAspect="1" noChangeArrowheads="1"/>
            </p:cNvSpPr>
            <p:nvPr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6" name="Oval 169"/>
            <p:cNvSpPr>
              <a:spLocks noChangeAspect="1" noChangeArrowheads="1"/>
            </p:cNvSpPr>
            <p:nvPr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7" name="Oval 170"/>
            <p:cNvSpPr>
              <a:spLocks noChangeAspect="1" noChangeArrowheads="1"/>
            </p:cNvSpPr>
            <p:nvPr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8" name="Oval 171"/>
            <p:cNvSpPr>
              <a:spLocks noChangeAspect="1" noChangeArrowheads="1"/>
            </p:cNvSpPr>
            <p:nvPr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9" name="Oval 172"/>
            <p:cNvSpPr>
              <a:spLocks noChangeAspect="1" noChangeArrowheads="1"/>
            </p:cNvSpPr>
            <p:nvPr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0" name="Oval 173"/>
            <p:cNvSpPr>
              <a:spLocks noChangeAspect="1" noChangeArrowheads="1"/>
            </p:cNvSpPr>
            <p:nvPr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1" name="Oval 174"/>
            <p:cNvSpPr>
              <a:spLocks noChangeAspect="1" noChangeArrowheads="1"/>
            </p:cNvSpPr>
            <p:nvPr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2" name="Oval 175"/>
            <p:cNvSpPr>
              <a:spLocks noChangeAspect="1" noChangeArrowheads="1"/>
            </p:cNvSpPr>
            <p:nvPr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3" name="Oval 176"/>
            <p:cNvSpPr>
              <a:spLocks noChangeAspect="1" noChangeArrowheads="1"/>
            </p:cNvSpPr>
            <p:nvPr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4" name="Oval 177"/>
            <p:cNvSpPr>
              <a:spLocks noChangeAspect="1" noChangeArrowheads="1"/>
            </p:cNvSpPr>
            <p:nvPr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5" name="Oval 178"/>
            <p:cNvSpPr>
              <a:spLocks noChangeAspect="1" noChangeArrowheads="1"/>
            </p:cNvSpPr>
            <p:nvPr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6" name="Oval 179"/>
            <p:cNvSpPr>
              <a:spLocks noChangeAspect="1" noChangeArrowheads="1"/>
            </p:cNvSpPr>
            <p:nvPr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7" name="Oval 180"/>
            <p:cNvSpPr>
              <a:spLocks noChangeAspect="1" noChangeArrowheads="1"/>
            </p:cNvSpPr>
            <p:nvPr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8" name="Oval 181"/>
            <p:cNvSpPr>
              <a:spLocks noChangeAspect="1" noChangeArrowheads="1"/>
            </p:cNvSpPr>
            <p:nvPr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9" name="Oval 182"/>
            <p:cNvSpPr>
              <a:spLocks noChangeAspect="1" noChangeArrowheads="1"/>
            </p:cNvSpPr>
            <p:nvPr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0" name="Oval 183"/>
            <p:cNvSpPr>
              <a:spLocks noChangeAspect="1" noChangeArrowheads="1"/>
            </p:cNvSpPr>
            <p:nvPr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1" name="Oval 184"/>
            <p:cNvSpPr>
              <a:spLocks noChangeAspect="1" noChangeArrowheads="1"/>
            </p:cNvSpPr>
            <p:nvPr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2" name="Oval 185"/>
            <p:cNvSpPr>
              <a:spLocks noChangeAspect="1" noChangeArrowheads="1"/>
            </p:cNvSpPr>
            <p:nvPr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3" name="Oval 186"/>
            <p:cNvSpPr>
              <a:spLocks noChangeAspect="1" noChangeArrowheads="1"/>
            </p:cNvSpPr>
            <p:nvPr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4" name="Oval 187"/>
            <p:cNvSpPr>
              <a:spLocks noChangeAspect="1" noChangeArrowheads="1"/>
            </p:cNvSpPr>
            <p:nvPr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5" name="Oval 188"/>
            <p:cNvSpPr>
              <a:spLocks noChangeAspect="1" noChangeArrowheads="1"/>
            </p:cNvSpPr>
            <p:nvPr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6" name="Oval 189"/>
            <p:cNvSpPr>
              <a:spLocks noChangeAspect="1" noChangeArrowheads="1"/>
            </p:cNvSpPr>
            <p:nvPr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7" name="Oval 190"/>
            <p:cNvSpPr>
              <a:spLocks noChangeAspect="1" noChangeArrowheads="1"/>
            </p:cNvSpPr>
            <p:nvPr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8" name="Oval 191"/>
            <p:cNvSpPr>
              <a:spLocks noChangeAspect="1" noChangeArrowheads="1"/>
            </p:cNvSpPr>
            <p:nvPr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9" name="Oval 192"/>
            <p:cNvSpPr>
              <a:spLocks noChangeAspect="1" noChangeArrowheads="1"/>
            </p:cNvSpPr>
            <p:nvPr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0" name="Oval 193"/>
            <p:cNvSpPr>
              <a:spLocks noChangeAspect="1" noChangeArrowheads="1"/>
            </p:cNvSpPr>
            <p:nvPr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1" name="Oval 194"/>
            <p:cNvSpPr>
              <a:spLocks noChangeAspect="1" noChangeArrowheads="1"/>
            </p:cNvSpPr>
            <p:nvPr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2" name="Oval 195"/>
            <p:cNvSpPr>
              <a:spLocks noChangeAspect="1" noChangeArrowheads="1"/>
            </p:cNvSpPr>
            <p:nvPr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3" name="Oval 196"/>
            <p:cNvSpPr>
              <a:spLocks noChangeAspect="1" noChangeArrowheads="1"/>
            </p:cNvSpPr>
            <p:nvPr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4" name="Oval 197"/>
            <p:cNvSpPr>
              <a:spLocks noChangeAspect="1" noChangeArrowheads="1"/>
            </p:cNvSpPr>
            <p:nvPr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5" name="Oval 198"/>
            <p:cNvSpPr>
              <a:spLocks noChangeAspect="1" noChangeArrowheads="1"/>
            </p:cNvSpPr>
            <p:nvPr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6" name="Oval 199"/>
            <p:cNvSpPr>
              <a:spLocks noChangeAspect="1" noChangeArrowheads="1"/>
            </p:cNvSpPr>
            <p:nvPr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7" name="Oval 200"/>
            <p:cNvSpPr>
              <a:spLocks noChangeAspect="1" noChangeArrowheads="1"/>
            </p:cNvSpPr>
            <p:nvPr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8" name="Oval 201"/>
            <p:cNvSpPr>
              <a:spLocks noChangeAspect="1" noChangeArrowheads="1"/>
            </p:cNvSpPr>
            <p:nvPr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9" name="Oval 202"/>
            <p:cNvSpPr>
              <a:spLocks noChangeAspect="1" noChangeArrowheads="1"/>
            </p:cNvSpPr>
            <p:nvPr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0" name="Oval 203"/>
            <p:cNvSpPr>
              <a:spLocks noChangeAspect="1" noChangeArrowheads="1"/>
            </p:cNvSpPr>
            <p:nvPr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1" name="Oval 204"/>
            <p:cNvSpPr>
              <a:spLocks noChangeAspect="1" noChangeArrowheads="1"/>
            </p:cNvSpPr>
            <p:nvPr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2" name="Oval 205"/>
            <p:cNvSpPr>
              <a:spLocks noChangeAspect="1" noChangeArrowheads="1"/>
            </p:cNvSpPr>
            <p:nvPr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3" name="Oval 206"/>
            <p:cNvSpPr>
              <a:spLocks noChangeAspect="1" noChangeArrowheads="1"/>
            </p:cNvSpPr>
            <p:nvPr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4" name="Oval 207"/>
            <p:cNvSpPr>
              <a:spLocks noChangeAspect="1" noChangeArrowheads="1"/>
            </p:cNvSpPr>
            <p:nvPr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5" name="Oval 208"/>
            <p:cNvSpPr>
              <a:spLocks noChangeAspect="1" noChangeArrowheads="1"/>
            </p:cNvSpPr>
            <p:nvPr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6" name="Oval 209"/>
            <p:cNvSpPr>
              <a:spLocks noChangeAspect="1" noChangeArrowheads="1"/>
            </p:cNvSpPr>
            <p:nvPr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7" name="Oval 210"/>
            <p:cNvSpPr>
              <a:spLocks noChangeAspect="1" noChangeArrowheads="1"/>
            </p:cNvSpPr>
            <p:nvPr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8" name="Oval 211"/>
            <p:cNvSpPr>
              <a:spLocks noChangeAspect="1" noChangeArrowheads="1"/>
            </p:cNvSpPr>
            <p:nvPr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9" name="Oval 212"/>
            <p:cNvSpPr>
              <a:spLocks noChangeAspect="1" noChangeArrowheads="1"/>
            </p:cNvSpPr>
            <p:nvPr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0" name="Oval 213"/>
            <p:cNvSpPr>
              <a:spLocks noChangeAspect="1" noChangeArrowheads="1"/>
            </p:cNvSpPr>
            <p:nvPr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1" name="Oval 214"/>
            <p:cNvSpPr>
              <a:spLocks noChangeAspect="1" noChangeArrowheads="1"/>
            </p:cNvSpPr>
            <p:nvPr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2" name="Oval 215"/>
            <p:cNvSpPr>
              <a:spLocks noChangeAspect="1" noChangeArrowheads="1"/>
            </p:cNvSpPr>
            <p:nvPr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3" name="Oval 216"/>
            <p:cNvSpPr>
              <a:spLocks noChangeAspect="1" noChangeArrowheads="1"/>
            </p:cNvSpPr>
            <p:nvPr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4" name="Oval 217"/>
            <p:cNvSpPr>
              <a:spLocks noChangeAspect="1" noChangeArrowheads="1"/>
            </p:cNvSpPr>
            <p:nvPr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5" name="Oval 218"/>
            <p:cNvSpPr>
              <a:spLocks noChangeAspect="1" noChangeArrowheads="1"/>
            </p:cNvSpPr>
            <p:nvPr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6" name="Oval 219"/>
            <p:cNvSpPr>
              <a:spLocks noChangeAspect="1" noChangeArrowheads="1"/>
            </p:cNvSpPr>
            <p:nvPr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7" name="Oval 220"/>
            <p:cNvSpPr>
              <a:spLocks noChangeAspect="1" noChangeArrowheads="1"/>
            </p:cNvSpPr>
            <p:nvPr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8" name="Oval 221"/>
            <p:cNvSpPr>
              <a:spLocks noChangeAspect="1" noChangeArrowheads="1"/>
            </p:cNvSpPr>
            <p:nvPr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9" name="Oval 222"/>
            <p:cNvSpPr>
              <a:spLocks noChangeAspect="1" noChangeArrowheads="1"/>
            </p:cNvSpPr>
            <p:nvPr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0" name="Oval 223"/>
            <p:cNvSpPr>
              <a:spLocks noChangeAspect="1" noChangeArrowheads="1"/>
            </p:cNvSpPr>
            <p:nvPr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1" name="Oval 224"/>
            <p:cNvSpPr>
              <a:spLocks noChangeAspect="1" noChangeArrowheads="1"/>
            </p:cNvSpPr>
            <p:nvPr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2" name="Oval 225"/>
            <p:cNvSpPr>
              <a:spLocks noChangeAspect="1" noChangeArrowheads="1"/>
            </p:cNvSpPr>
            <p:nvPr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3" name="Oval 226"/>
            <p:cNvSpPr>
              <a:spLocks noChangeAspect="1" noChangeArrowheads="1"/>
            </p:cNvSpPr>
            <p:nvPr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4" name="Oval 227"/>
            <p:cNvSpPr>
              <a:spLocks noChangeAspect="1" noChangeArrowheads="1"/>
            </p:cNvSpPr>
            <p:nvPr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5" name="Oval 228"/>
            <p:cNvSpPr>
              <a:spLocks noChangeAspect="1" noChangeArrowheads="1"/>
            </p:cNvSpPr>
            <p:nvPr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6" name="Oval 229"/>
            <p:cNvSpPr>
              <a:spLocks noChangeAspect="1" noChangeArrowheads="1"/>
            </p:cNvSpPr>
            <p:nvPr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7" name="Oval 230"/>
            <p:cNvSpPr>
              <a:spLocks noChangeAspect="1" noChangeArrowheads="1"/>
            </p:cNvSpPr>
            <p:nvPr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8" name="Oval 231"/>
            <p:cNvSpPr>
              <a:spLocks noChangeAspect="1" noChangeArrowheads="1"/>
            </p:cNvSpPr>
            <p:nvPr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9" name="Oval 232"/>
            <p:cNvSpPr>
              <a:spLocks noChangeAspect="1" noChangeArrowheads="1"/>
            </p:cNvSpPr>
            <p:nvPr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0" name="Oval 233"/>
            <p:cNvSpPr>
              <a:spLocks noChangeAspect="1" noChangeArrowheads="1"/>
            </p:cNvSpPr>
            <p:nvPr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1" name="Oval 234"/>
            <p:cNvSpPr>
              <a:spLocks noChangeAspect="1" noChangeArrowheads="1"/>
            </p:cNvSpPr>
            <p:nvPr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2" name="Oval 235"/>
            <p:cNvSpPr>
              <a:spLocks noChangeAspect="1" noChangeArrowheads="1"/>
            </p:cNvSpPr>
            <p:nvPr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3" name="Oval 236"/>
            <p:cNvSpPr>
              <a:spLocks noChangeAspect="1" noChangeArrowheads="1"/>
            </p:cNvSpPr>
            <p:nvPr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4" name="Oval 237"/>
            <p:cNvSpPr>
              <a:spLocks noChangeAspect="1" noChangeArrowheads="1"/>
            </p:cNvSpPr>
            <p:nvPr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5" name="Oval 238"/>
            <p:cNvSpPr>
              <a:spLocks noChangeAspect="1" noChangeArrowheads="1"/>
            </p:cNvSpPr>
            <p:nvPr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6" name="Oval 239"/>
            <p:cNvSpPr>
              <a:spLocks noChangeAspect="1" noChangeArrowheads="1"/>
            </p:cNvSpPr>
            <p:nvPr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7" name="Oval 240"/>
            <p:cNvSpPr>
              <a:spLocks noChangeAspect="1" noChangeArrowheads="1"/>
            </p:cNvSpPr>
            <p:nvPr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8" name="Oval 241"/>
            <p:cNvSpPr>
              <a:spLocks noChangeAspect="1" noChangeArrowheads="1"/>
            </p:cNvSpPr>
            <p:nvPr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9" name="Oval 242"/>
            <p:cNvSpPr>
              <a:spLocks noChangeAspect="1" noChangeArrowheads="1"/>
            </p:cNvSpPr>
            <p:nvPr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0" name="Oval 243"/>
            <p:cNvSpPr>
              <a:spLocks noChangeAspect="1" noChangeArrowheads="1"/>
            </p:cNvSpPr>
            <p:nvPr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1" name="Oval 244"/>
            <p:cNvSpPr>
              <a:spLocks noChangeAspect="1" noChangeArrowheads="1"/>
            </p:cNvSpPr>
            <p:nvPr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2" name="Oval 245"/>
            <p:cNvSpPr>
              <a:spLocks noChangeAspect="1" noChangeArrowheads="1"/>
            </p:cNvSpPr>
            <p:nvPr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3" name="Oval 246"/>
            <p:cNvSpPr>
              <a:spLocks noChangeAspect="1" noChangeArrowheads="1"/>
            </p:cNvSpPr>
            <p:nvPr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4" name="Oval 247"/>
            <p:cNvSpPr>
              <a:spLocks noChangeAspect="1" noChangeArrowheads="1"/>
            </p:cNvSpPr>
            <p:nvPr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5" name="Oval 248"/>
            <p:cNvSpPr>
              <a:spLocks noChangeAspect="1" noChangeArrowheads="1"/>
            </p:cNvSpPr>
            <p:nvPr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6" name="Oval 249"/>
            <p:cNvSpPr>
              <a:spLocks noChangeAspect="1" noChangeArrowheads="1"/>
            </p:cNvSpPr>
            <p:nvPr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7" name="Oval 250"/>
            <p:cNvSpPr>
              <a:spLocks noChangeAspect="1" noChangeArrowheads="1"/>
            </p:cNvSpPr>
            <p:nvPr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8" name="Oval 251"/>
            <p:cNvSpPr>
              <a:spLocks noChangeAspect="1" noChangeArrowheads="1"/>
            </p:cNvSpPr>
            <p:nvPr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9" name="Oval 252"/>
            <p:cNvSpPr>
              <a:spLocks noChangeAspect="1" noChangeArrowheads="1"/>
            </p:cNvSpPr>
            <p:nvPr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0" name="Oval 253"/>
            <p:cNvSpPr>
              <a:spLocks noChangeAspect="1" noChangeArrowheads="1"/>
            </p:cNvSpPr>
            <p:nvPr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1" name="Oval 254"/>
            <p:cNvSpPr>
              <a:spLocks noChangeAspect="1" noChangeArrowheads="1"/>
            </p:cNvSpPr>
            <p:nvPr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2" name="Oval 255"/>
            <p:cNvSpPr>
              <a:spLocks noChangeAspect="1" noChangeArrowheads="1"/>
            </p:cNvSpPr>
            <p:nvPr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3" name="Oval 256"/>
            <p:cNvSpPr>
              <a:spLocks noChangeAspect="1" noChangeArrowheads="1"/>
            </p:cNvSpPr>
            <p:nvPr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4" name="Oval 257"/>
            <p:cNvSpPr>
              <a:spLocks noChangeAspect="1" noChangeArrowheads="1"/>
            </p:cNvSpPr>
            <p:nvPr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5" name="Oval 258"/>
            <p:cNvSpPr>
              <a:spLocks noChangeAspect="1" noChangeArrowheads="1"/>
            </p:cNvSpPr>
            <p:nvPr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6" name="Oval 259"/>
            <p:cNvSpPr>
              <a:spLocks noChangeAspect="1" noChangeArrowheads="1"/>
            </p:cNvSpPr>
            <p:nvPr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7" name="Oval 260"/>
            <p:cNvSpPr>
              <a:spLocks noChangeAspect="1" noChangeArrowheads="1"/>
            </p:cNvSpPr>
            <p:nvPr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8" name="Oval 261"/>
            <p:cNvSpPr>
              <a:spLocks noChangeAspect="1" noChangeArrowheads="1"/>
            </p:cNvSpPr>
            <p:nvPr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9" name="Oval 262"/>
            <p:cNvSpPr>
              <a:spLocks noChangeAspect="1" noChangeArrowheads="1"/>
            </p:cNvSpPr>
            <p:nvPr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0" name="Oval 263"/>
            <p:cNvSpPr>
              <a:spLocks noChangeAspect="1" noChangeArrowheads="1"/>
            </p:cNvSpPr>
            <p:nvPr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1" name="Oval 264"/>
            <p:cNvSpPr>
              <a:spLocks noChangeAspect="1" noChangeArrowheads="1"/>
            </p:cNvSpPr>
            <p:nvPr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2" name="Oval 265"/>
            <p:cNvSpPr>
              <a:spLocks noChangeAspect="1" noChangeArrowheads="1"/>
            </p:cNvSpPr>
            <p:nvPr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3" name="Oval 266"/>
            <p:cNvSpPr>
              <a:spLocks noChangeAspect="1" noChangeArrowheads="1"/>
            </p:cNvSpPr>
            <p:nvPr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4" name="Oval 267"/>
            <p:cNvSpPr>
              <a:spLocks noChangeAspect="1" noChangeArrowheads="1"/>
            </p:cNvSpPr>
            <p:nvPr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5" name="Oval 268"/>
            <p:cNvSpPr>
              <a:spLocks noChangeAspect="1" noChangeArrowheads="1"/>
            </p:cNvSpPr>
            <p:nvPr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6" name="Oval 269"/>
            <p:cNvSpPr>
              <a:spLocks noChangeAspect="1" noChangeArrowheads="1"/>
            </p:cNvSpPr>
            <p:nvPr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7" name="Oval 270"/>
            <p:cNvSpPr>
              <a:spLocks noChangeAspect="1" noChangeArrowheads="1"/>
            </p:cNvSpPr>
            <p:nvPr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8" name="Oval 271"/>
            <p:cNvSpPr>
              <a:spLocks noChangeAspect="1" noChangeArrowheads="1"/>
            </p:cNvSpPr>
            <p:nvPr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9" name="Oval 272"/>
            <p:cNvSpPr>
              <a:spLocks noChangeAspect="1" noChangeArrowheads="1"/>
            </p:cNvSpPr>
            <p:nvPr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0" name="Oval 273"/>
            <p:cNvSpPr>
              <a:spLocks noChangeAspect="1" noChangeArrowheads="1"/>
            </p:cNvSpPr>
            <p:nvPr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1" name="Oval 274"/>
            <p:cNvSpPr>
              <a:spLocks noChangeAspect="1" noChangeArrowheads="1"/>
            </p:cNvSpPr>
            <p:nvPr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2" name="Oval 275"/>
            <p:cNvSpPr>
              <a:spLocks noChangeAspect="1" noChangeArrowheads="1"/>
            </p:cNvSpPr>
            <p:nvPr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3" name="Oval 276"/>
            <p:cNvSpPr>
              <a:spLocks noChangeAspect="1" noChangeArrowheads="1"/>
            </p:cNvSpPr>
            <p:nvPr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4" name="Oval 277"/>
            <p:cNvSpPr>
              <a:spLocks noChangeAspect="1" noChangeArrowheads="1"/>
            </p:cNvSpPr>
            <p:nvPr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5" name="Oval 278"/>
            <p:cNvSpPr>
              <a:spLocks noChangeAspect="1" noChangeArrowheads="1"/>
            </p:cNvSpPr>
            <p:nvPr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6" name="Oval 279"/>
            <p:cNvSpPr>
              <a:spLocks noChangeAspect="1" noChangeArrowheads="1"/>
            </p:cNvSpPr>
            <p:nvPr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7" name="Oval 280"/>
            <p:cNvSpPr>
              <a:spLocks noChangeAspect="1" noChangeArrowheads="1"/>
            </p:cNvSpPr>
            <p:nvPr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8" name="Oval 281"/>
            <p:cNvSpPr>
              <a:spLocks noChangeAspect="1" noChangeArrowheads="1"/>
            </p:cNvSpPr>
            <p:nvPr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9" name="Oval 282"/>
            <p:cNvSpPr>
              <a:spLocks noChangeAspect="1" noChangeArrowheads="1"/>
            </p:cNvSpPr>
            <p:nvPr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0" name="Oval 283"/>
            <p:cNvSpPr>
              <a:spLocks noChangeAspect="1" noChangeArrowheads="1"/>
            </p:cNvSpPr>
            <p:nvPr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1" name="Oval 284"/>
            <p:cNvSpPr>
              <a:spLocks noChangeAspect="1" noChangeArrowheads="1"/>
            </p:cNvSpPr>
            <p:nvPr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2" name="Oval 285"/>
            <p:cNvSpPr>
              <a:spLocks noChangeAspect="1" noChangeArrowheads="1"/>
            </p:cNvSpPr>
            <p:nvPr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3" name="Oval 286"/>
            <p:cNvSpPr>
              <a:spLocks noChangeAspect="1" noChangeArrowheads="1"/>
            </p:cNvSpPr>
            <p:nvPr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4" name="Oval 287"/>
            <p:cNvSpPr>
              <a:spLocks noChangeAspect="1" noChangeArrowheads="1"/>
            </p:cNvSpPr>
            <p:nvPr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5" name="Oval 288"/>
            <p:cNvSpPr>
              <a:spLocks noChangeAspect="1" noChangeArrowheads="1"/>
            </p:cNvSpPr>
            <p:nvPr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6" name="Oval 289"/>
            <p:cNvSpPr>
              <a:spLocks noChangeAspect="1" noChangeArrowheads="1"/>
            </p:cNvSpPr>
            <p:nvPr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7" name="Oval 290"/>
            <p:cNvSpPr>
              <a:spLocks noChangeAspect="1" noChangeArrowheads="1"/>
            </p:cNvSpPr>
            <p:nvPr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8" name="Oval 291"/>
            <p:cNvSpPr>
              <a:spLocks noChangeAspect="1" noChangeArrowheads="1"/>
            </p:cNvSpPr>
            <p:nvPr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9" name="Oval 292"/>
            <p:cNvSpPr>
              <a:spLocks noChangeAspect="1" noChangeArrowheads="1"/>
            </p:cNvSpPr>
            <p:nvPr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0" name="Oval 293"/>
            <p:cNvSpPr>
              <a:spLocks noChangeAspect="1" noChangeArrowheads="1"/>
            </p:cNvSpPr>
            <p:nvPr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1" name="Oval 294"/>
            <p:cNvSpPr>
              <a:spLocks noChangeAspect="1" noChangeArrowheads="1"/>
            </p:cNvSpPr>
            <p:nvPr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2" name="Oval 295"/>
            <p:cNvSpPr>
              <a:spLocks noChangeAspect="1" noChangeArrowheads="1"/>
            </p:cNvSpPr>
            <p:nvPr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3" name="Oval 296"/>
            <p:cNvSpPr>
              <a:spLocks noChangeAspect="1" noChangeArrowheads="1"/>
            </p:cNvSpPr>
            <p:nvPr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4" name="Oval 297"/>
            <p:cNvSpPr>
              <a:spLocks noChangeAspect="1" noChangeArrowheads="1"/>
            </p:cNvSpPr>
            <p:nvPr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5" name="Oval 298"/>
            <p:cNvSpPr>
              <a:spLocks noChangeAspect="1" noChangeArrowheads="1"/>
            </p:cNvSpPr>
            <p:nvPr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6" name="Oval 299"/>
            <p:cNvSpPr>
              <a:spLocks noChangeAspect="1" noChangeArrowheads="1"/>
            </p:cNvSpPr>
            <p:nvPr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7" name="Oval 300"/>
            <p:cNvSpPr>
              <a:spLocks noChangeAspect="1" noChangeArrowheads="1"/>
            </p:cNvSpPr>
            <p:nvPr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8" name="Oval 301"/>
            <p:cNvSpPr>
              <a:spLocks noChangeAspect="1" noChangeArrowheads="1"/>
            </p:cNvSpPr>
            <p:nvPr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9" name="Oval 302"/>
            <p:cNvSpPr>
              <a:spLocks noChangeAspect="1" noChangeArrowheads="1"/>
            </p:cNvSpPr>
            <p:nvPr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0" name="Oval 303"/>
            <p:cNvSpPr>
              <a:spLocks noChangeAspect="1" noChangeArrowheads="1"/>
            </p:cNvSpPr>
            <p:nvPr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1" name="Oval 304"/>
            <p:cNvSpPr>
              <a:spLocks noChangeAspect="1" noChangeArrowheads="1"/>
            </p:cNvSpPr>
            <p:nvPr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2" name="Oval 305"/>
            <p:cNvSpPr>
              <a:spLocks noChangeAspect="1" noChangeArrowheads="1"/>
            </p:cNvSpPr>
            <p:nvPr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3" name="Oval 306"/>
            <p:cNvSpPr>
              <a:spLocks noChangeAspect="1" noChangeArrowheads="1"/>
            </p:cNvSpPr>
            <p:nvPr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4" name="Oval 307"/>
            <p:cNvSpPr>
              <a:spLocks noChangeAspect="1" noChangeArrowheads="1"/>
            </p:cNvSpPr>
            <p:nvPr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5" name="Oval 308"/>
            <p:cNvSpPr>
              <a:spLocks noChangeAspect="1" noChangeArrowheads="1"/>
            </p:cNvSpPr>
            <p:nvPr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6" name="Oval 309"/>
            <p:cNvSpPr>
              <a:spLocks noChangeAspect="1" noChangeArrowheads="1"/>
            </p:cNvSpPr>
            <p:nvPr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7" name="Oval 310"/>
            <p:cNvSpPr>
              <a:spLocks noChangeAspect="1" noChangeArrowheads="1"/>
            </p:cNvSpPr>
            <p:nvPr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8" name="Oval 311"/>
            <p:cNvSpPr>
              <a:spLocks noChangeAspect="1" noChangeArrowheads="1"/>
            </p:cNvSpPr>
            <p:nvPr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9" name="Oval 312"/>
            <p:cNvSpPr>
              <a:spLocks noChangeAspect="1" noChangeArrowheads="1"/>
            </p:cNvSpPr>
            <p:nvPr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0" name="Oval 313"/>
            <p:cNvSpPr>
              <a:spLocks noChangeAspect="1" noChangeArrowheads="1"/>
            </p:cNvSpPr>
            <p:nvPr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1" name="Oval 314"/>
            <p:cNvSpPr>
              <a:spLocks noChangeAspect="1" noChangeArrowheads="1"/>
            </p:cNvSpPr>
            <p:nvPr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2" name="Oval 315"/>
            <p:cNvSpPr>
              <a:spLocks noChangeAspect="1" noChangeArrowheads="1"/>
            </p:cNvSpPr>
            <p:nvPr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3" name="Oval 316"/>
            <p:cNvSpPr>
              <a:spLocks noChangeAspect="1" noChangeArrowheads="1"/>
            </p:cNvSpPr>
            <p:nvPr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4" name="Oval 317"/>
            <p:cNvSpPr>
              <a:spLocks noChangeAspect="1" noChangeArrowheads="1"/>
            </p:cNvSpPr>
            <p:nvPr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5" name="Oval 318"/>
            <p:cNvSpPr>
              <a:spLocks noChangeAspect="1" noChangeArrowheads="1"/>
            </p:cNvSpPr>
            <p:nvPr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6" name="Oval 319"/>
            <p:cNvSpPr>
              <a:spLocks noChangeAspect="1" noChangeArrowheads="1"/>
            </p:cNvSpPr>
            <p:nvPr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7" name="Oval 320"/>
            <p:cNvSpPr>
              <a:spLocks noChangeAspect="1" noChangeArrowheads="1"/>
            </p:cNvSpPr>
            <p:nvPr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8" name="Oval 321"/>
            <p:cNvSpPr>
              <a:spLocks noChangeAspect="1" noChangeArrowheads="1"/>
            </p:cNvSpPr>
            <p:nvPr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9" name="Oval 322"/>
            <p:cNvSpPr>
              <a:spLocks noChangeAspect="1" noChangeArrowheads="1"/>
            </p:cNvSpPr>
            <p:nvPr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0" name="Oval 323"/>
            <p:cNvSpPr>
              <a:spLocks noChangeAspect="1" noChangeArrowheads="1"/>
            </p:cNvSpPr>
            <p:nvPr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1" name="Oval 324"/>
            <p:cNvSpPr>
              <a:spLocks noChangeAspect="1" noChangeArrowheads="1"/>
            </p:cNvSpPr>
            <p:nvPr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2" name="Oval 325"/>
            <p:cNvSpPr>
              <a:spLocks noChangeAspect="1" noChangeArrowheads="1"/>
            </p:cNvSpPr>
            <p:nvPr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3" name="Oval 326"/>
            <p:cNvSpPr>
              <a:spLocks noChangeAspect="1" noChangeArrowheads="1"/>
            </p:cNvSpPr>
            <p:nvPr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4" name="Oval 327"/>
            <p:cNvSpPr>
              <a:spLocks noChangeAspect="1" noChangeArrowheads="1"/>
            </p:cNvSpPr>
            <p:nvPr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5" name="Oval 328"/>
            <p:cNvSpPr>
              <a:spLocks noChangeAspect="1" noChangeArrowheads="1"/>
            </p:cNvSpPr>
            <p:nvPr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6" name="Oval 329"/>
            <p:cNvSpPr>
              <a:spLocks noChangeAspect="1" noChangeArrowheads="1"/>
            </p:cNvSpPr>
            <p:nvPr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7" name="Oval 330"/>
            <p:cNvSpPr>
              <a:spLocks noChangeAspect="1" noChangeArrowheads="1"/>
            </p:cNvSpPr>
            <p:nvPr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8" name="Oval 331"/>
            <p:cNvSpPr>
              <a:spLocks noChangeAspect="1" noChangeArrowheads="1"/>
            </p:cNvSpPr>
            <p:nvPr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9" name="Oval 332"/>
            <p:cNvSpPr>
              <a:spLocks noChangeAspect="1" noChangeArrowheads="1"/>
            </p:cNvSpPr>
            <p:nvPr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0" name="Oval 333"/>
            <p:cNvSpPr>
              <a:spLocks noChangeAspect="1" noChangeArrowheads="1"/>
            </p:cNvSpPr>
            <p:nvPr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1" name="Oval 334"/>
            <p:cNvSpPr>
              <a:spLocks noChangeAspect="1" noChangeArrowheads="1"/>
            </p:cNvSpPr>
            <p:nvPr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2" name="Oval 335"/>
            <p:cNvSpPr>
              <a:spLocks noChangeAspect="1" noChangeArrowheads="1"/>
            </p:cNvSpPr>
            <p:nvPr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3" name="Oval 336"/>
            <p:cNvSpPr>
              <a:spLocks noChangeAspect="1" noChangeArrowheads="1"/>
            </p:cNvSpPr>
            <p:nvPr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4" name="Oval 337"/>
            <p:cNvSpPr>
              <a:spLocks noChangeAspect="1" noChangeArrowheads="1"/>
            </p:cNvSpPr>
            <p:nvPr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5" name="Oval 338"/>
            <p:cNvSpPr>
              <a:spLocks noChangeAspect="1" noChangeArrowheads="1"/>
            </p:cNvSpPr>
            <p:nvPr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6" name="Oval 339"/>
            <p:cNvSpPr>
              <a:spLocks noChangeAspect="1" noChangeArrowheads="1"/>
            </p:cNvSpPr>
            <p:nvPr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7" name="Oval 340"/>
            <p:cNvSpPr>
              <a:spLocks noChangeAspect="1" noChangeArrowheads="1"/>
            </p:cNvSpPr>
            <p:nvPr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8" name="Oval 341"/>
            <p:cNvSpPr>
              <a:spLocks noChangeAspect="1" noChangeArrowheads="1"/>
            </p:cNvSpPr>
            <p:nvPr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9" name="Oval 342"/>
            <p:cNvSpPr>
              <a:spLocks noChangeAspect="1" noChangeArrowheads="1"/>
            </p:cNvSpPr>
            <p:nvPr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0" name="Oval 343"/>
            <p:cNvSpPr>
              <a:spLocks noChangeAspect="1" noChangeArrowheads="1"/>
            </p:cNvSpPr>
            <p:nvPr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1" name="Oval 344"/>
            <p:cNvSpPr>
              <a:spLocks noChangeAspect="1" noChangeArrowheads="1"/>
            </p:cNvSpPr>
            <p:nvPr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2" name="Oval 345"/>
            <p:cNvSpPr>
              <a:spLocks noChangeAspect="1" noChangeArrowheads="1"/>
            </p:cNvSpPr>
            <p:nvPr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3" name="Oval 346"/>
            <p:cNvSpPr>
              <a:spLocks noChangeAspect="1" noChangeArrowheads="1"/>
            </p:cNvSpPr>
            <p:nvPr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4" name="Oval 347"/>
            <p:cNvSpPr>
              <a:spLocks noChangeAspect="1" noChangeArrowheads="1"/>
            </p:cNvSpPr>
            <p:nvPr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5" name="Oval 348"/>
            <p:cNvSpPr>
              <a:spLocks noChangeAspect="1" noChangeArrowheads="1"/>
            </p:cNvSpPr>
            <p:nvPr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6" name="Oval 349"/>
            <p:cNvSpPr>
              <a:spLocks noChangeAspect="1" noChangeArrowheads="1"/>
            </p:cNvSpPr>
            <p:nvPr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7" name="Oval 350"/>
            <p:cNvSpPr>
              <a:spLocks noChangeAspect="1" noChangeArrowheads="1"/>
            </p:cNvSpPr>
            <p:nvPr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8" name="Oval 351"/>
            <p:cNvSpPr>
              <a:spLocks noChangeAspect="1" noChangeArrowheads="1"/>
            </p:cNvSpPr>
            <p:nvPr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9" name="Oval 352"/>
            <p:cNvSpPr>
              <a:spLocks noChangeAspect="1" noChangeArrowheads="1"/>
            </p:cNvSpPr>
            <p:nvPr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0" name="Oval 353"/>
            <p:cNvSpPr>
              <a:spLocks noChangeAspect="1" noChangeArrowheads="1"/>
            </p:cNvSpPr>
            <p:nvPr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1" name="Oval 354"/>
            <p:cNvSpPr>
              <a:spLocks noChangeAspect="1" noChangeArrowheads="1"/>
            </p:cNvSpPr>
            <p:nvPr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2" name="Oval 355"/>
            <p:cNvSpPr>
              <a:spLocks noChangeAspect="1" noChangeArrowheads="1"/>
            </p:cNvSpPr>
            <p:nvPr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3" name="Oval 356"/>
            <p:cNvSpPr>
              <a:spLocks noChangeAspect="1" noChangeArrowheads="1"/>
            </p:cNvSpPr>
            <p:nvPr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4" name="Oval 357"/>
            <p:cNvSpPr>
              <a:spLocks noChangeAspect="1" noChangeArrowheads="1"/>
            </p:cNvSpPr>
            <p:nvPr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5" name="Oval 358"/>
            <p:cNvSpPr>
              <a:spLocks noChangeAspect="1" noChangeArrowheads="1"/>
            </p:cNvSpPr>
            <p:nvPr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6" name="Oval 359"/>
            <p:cNvSpPr>
              <a:spLocks noChangeAspect="1" noChangeArrowheads="1"/>
            </p:cNvSpPr>
            <p:nvPr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1757" name="Oval 360"/>
            <p:cNvSpPr>
              <a:spLocks noChangeAspect="1" noChangeArrowheads="1"/>
            </p:cNvSpPr>
            <p:nvPr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8" name="Oval 361"/>
            <p:cNvSpPr>
              <a:spLocks noChangeAspect="1" noChangeArrowheads="1"/>
            </p:cNvSpPr>
            <p:nvPr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9" name="Oval 362"/>
            <p:cNvSpPr>
              <a:spLocks noChangeAspect="1" noChangeArrowheads="1"/>
            </p:cNvSpPr>
            <p:nvPr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0" name="Oval 363"/>
            <p:cNvSpPr>
              <a:spLocks noChangeAspect="1" noChangeArrowheads="1"/>
            </p:cNvSpPr>
            <p:nvPr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1" name="Oval 364"/>
            <p:cNvSpPr>
              <a:spLocks noChangeAspect="1" noChangeArrowheads="1"/>
            </p:cNvSpPr>
            <p:nvPr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2" name="Oval 365"/>
            <p:cNvSpPr>
              <a:spLocks noChangeAspect="1" noChangeArrowheads="1"/>
            </p:cNvSpPr>
            <p:nvPr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3" name="Oval 366"/>
            <p:cNvSpPr>
              <a:spLocks noChangeAspect="1" noChangeArrowheads="1"/>
            </p:cNvSpPr>
            <p:nvPr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4" name="Oval 367"/>
            <p:cNvSpPr>
              <a:spLocks noChangeAspect="1" noChangeArrowheads="1"/>
            </p:cNvSpPr>
            <p:nvPr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5" name="Oval 368"/>
            <p:cNvSpPr>
              <a:spLocks noChangeAspect="1" noChangeArrowheads="1"/>
            </p:cNvSpPr>
            <p:nvPr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6" name="Oval 369"/>
            <p:cNvSpPr>
              <a:spLocks noChangeAspect="1" noChangeArrowheads="1"/>
            </p:cNvSpPr>
            <p:nvPr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7" name="Oval 370"/>
            <p:cNvSpPr>
              <a:spLocks noChangeAspect="1" noChangeArrowheads="1"/>
            </p:cNvSpPr>
            <p:nvPr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8" name="Oval 371"/>
            <p:cNvSpPr>
              <a:spLocks noChangeAspect="1" noChangeArrowheads="1"/>
            </p:cNvSpPr>
            <p:nvPr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9" name="Oval 372"/>
            <p:cNvSpPr>
              <a:spLocks noChangeAspect="1" noChangeArrowheads="1"/>
            </p:cNvSpPr>
            <p:nvPr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0" name="Oval 373"/>
            <p:cNvSpPr>
              <a:spLocks noChangeAspect="1" noChangeArrowheads="1"/>
            </p:cNvSpPr>
            <p:nvPr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1" name="Oval 374"/>
            <p:cNvSpPr>
              <a:spLocks noChangeAspect="1" noChangeArrowheads="1"/>
            </p:cNvSpPr>
            <p:nvPr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2" name="Oval 375"/>
            <p:cNvSpPr>
              <a:spLocks noChangeAspect="1" noChangeArrowheads="1"/>
            </p:cNvSpPr>
            <p:nvPr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3" name="Oval 376"/>
            <p:cNvSpPr>
              <a:spLocks noChangeAspect="1" noChangeArrowheads="1"/>
            </p:cNvSpPr>
            <p:nvPr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4" name="Oval 377"/>
            <p:cNvSpPr>
              <a:spLocks noChangeAspect="1" noChangeArrowheads="1"/>
            </p:cNvSpPr>
            <p:nvPr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5" name="Oval 378"/>
            <p:cNvSpPr>
              <a:spLocks noChangeAspect="1" noChangeArrowheads="1"/>
            </p:cNvSpPr>
            <p:nvPr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6" name="Oval 379"/>
            <p:cNvSpPr>
              <a:spLocks noChangeAspect="1" noChangeArrowheads="1"/>
            </p:cNvSpPr>
            <p:nvPr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7" name="Oval 380"/>
            <p:cNvSpPr>
              <a:spLocks noChangeAspect="1" noChangeArrowheads="1"/>
            </p:cNvSpPr>
            <p:nvPr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8" name="Oval 381"/>
            <p:cNvSpPr>
              <a:spLocks noChangeAspect="1" noChangeArrowheads="1"/>
            </p:cNvSpPr>
            <p:nvPr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9" name="Oval 382"/>
            <p:cNvSpPr>
              <a:spLocks noChangeAspect="1" noChangeArrowheads="1"/>
            </p:cNvSpPr>
            <p:nvPr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0" name="Oval 383"/>
            <p:cNvSpPr>
              <a:spLocks noChangeAspect="1" noChangeArrowheads="1"/>
            </p:cNvSpPr>
            <p:nvPr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1" name="Oval 384"/>
            <p:cNvSpPr>
              <a:spLocks noChangeAspect="1" noChangeArrowheads="1"/>
            </p:cNvSpPr>
            <p:nvPr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2" name="Oval 385"/>
            <p:cNvSpPr>
              <a:spLocks noChangeAspect="1" noChangeArrowheads="1"/>
            </p:cNvSpPr>
            <p:nvPr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3" name="Oval 386"/>
            <p:cNvSpPr>
              <a:spLocks noChangeAspect="1" noChangeArrowheads="1"/>
            </p:cNvSpPr>
            <p:nvPr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4" name="Oval 387"/>
            <p:cNvSpPr>
              <a:spLocks noChangeAspect="1" noChangeArrowheads="1"/>
            </p:cNvSpPr>
            <p:nvPr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5" name="Oval 388"/>
            <p:cNvSpPr>
              <a:spLocks noChangeAspect="1" noChangeArrowheads="1"/>
            </p:cNvSpPr>
            <p:nvPr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6" name="Oval 389"/>
            <p:cNvSpPr>
              <a:spLocks noChangeAspect="1" noChangeArrowheads="1"/>
            </p:cNvSpPr>
            <p:nvPr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7" name="Oval 390"/>
            <p:cNvSpPr>
              <a:spLocks noChangeAspect="1" noChangeArrowheads="1"/>
            </p:cNvSpPr>
            <p:nvPr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8" name="Oval 391"/>
            <p:cNvSpPr>
              <a:spLocks noChangeAspect="1" noChangeArrowheads="1"/>
            </p:cNvSpPr>
            <p:nvPr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9" name="Oval 392"/>
            <p:cNvSpPr>
              <a:spLocks noChangeAspect="1" noChangeArrowheads="1"/>
            </p:cNvSpPr>
            <p:nvPr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0" name="Oval 393"/>
            <p:cNvSpPr>
              <a:spLocks noChangeAspect="1" noChangeArrowheads="1"/>
            </p:cNvSpPr>
            <p:nvPr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1" name="Oval 394"/>
            <p:cNvSpPr>
              <a:spLocks noChangeAspect="1" noChangeArrowheads="1"/>
            </p:cNvSpPr>
            <p:nvPr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2" name="Oval 395"/>
            <p:cNvSpPr>
              <a:spLocks noChangeAspect="1" noChangeArrowheads="1"/>
            </p:cNvSpPr>
            <p:nvPr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3" name="Oval 396"/>
            <p:cNvSpPr>
              <a:spLocks noChangeAspect="1" noChangeArrowheads="1"/>
            </p:cNvSpPr>
            <p:nvPr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4" name="Oval 397"/>
            <p:cNvSpPr>
              <a:spLocks noChangeAspect="1" noChangeArrowheads="1"/>
            </p:cNvSpPr>
            <p:nvPr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5" name="Oval 398"/>
            <p:cNvSpPr>
              <a:spLocks noChangeAspect="1" noChangeArrowheads="1"/>
            </p:cNvSpPr>
            <p:nvPr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6" name="Oval 399"/>
            <p:cNvSpPr>
              <a:spLocks noChangeAspect="1" noChangeArrowheads="1"/>
            </p:cNvSpPr>
            <p:nvPr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7" name="Oval 400"/>
            <p:cNvSpPr>
              <a:spLocks noChangeAspect="1" noChangeArrowheads="1"/>
            </p:cNvSpPr>
            <p:nvPr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8" name="Oval 401"/>
            <p:cNvSpPr>
              <a:spLocks noChangeAspect="1" noChangeArrowheads="1"/>
            </p:cNvSpPr>
            <p:nvPr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9" name="Oval 402"/>
            <p:cNvSpPr>
              <a:spLocks noChangeAspect="1" noChangeArrowheads="1"/>
            </p:cNvSpPr>
            <p:nvPr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0" name="Oval 403"/>
            <p:cNvSpPr>
              <a:spLocks noChangeAspect="1" noChangeArrowheads="1"/>
            </p:cNvSpPr>
            <p:nvPr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1" name="Oval 404"/>
            <p:cNvSpPr>
              <a:spLocks noChangeAspect="1" noChangeArrowheads="1"/>
            </p:cNvSpPr>
            <p:nvPr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2" name="Oval 405"/>
            <p:cNvSpPr>
              <a:spLocks noChangeAspect="1" noChangeArrowheads="1"/>
            </p:cNvSpPr>
            <p:nvPr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3" name="Oval 406"/>
            <p:cNvSpPr>
              <a:spLocks noChangeAspect="1" noChangeArrowheads="1"/>
            </p:cNvSpPr>
            <p:nvPr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4" name="Oval 407"/>
            <p:cNvSpPr>
              <a:spLocks noChangeAspect="1" noChangeArrowheads="1"/>
            </p:cNvSpPr>
            <p:nvPr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5" name="Oval 408"/>
            <p:cNvSpPr>
              <a:spLocks noChangeAspect="1" noChangeArrowheads="1"/>
            </p:cNvSpPr>
            <p:nvPr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1806" name="Oval 409"/>
            <p:cNvSpPr>
              <a:spLocks noChangeAspect="1" noChangeArrowheads="1"/>
            </p:cNvSpPr>
            <p:nvPr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7" name="Oval 410"/>
            <p:cNvSpPr>
              <a:spLocks noChangeAspect="1" noChangeArrowheads="1"/>
            </p:cNvSpPr>
            <p:nvPr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8" name="Oval 411"/>
            <p:cNvSpPr>
              <a:spLocks noChangeAspect="1" noChangeArrowheads="1"/>
            </p:cNvSpPr>
            <p:nvPr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9" name="Oval 412"/>
            <p:cNvSpPr>
              <a:spLocks noChangeAspect="1" noChangeArrowheads="1"/>
            </p:cNvSpPr>
            <p:nvPr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0" name="Oval 413"/>
            <p:cNvSpPr>
              <a:spLocks noChangeAspect="1" noChangeArrowheads="1"/>
            </p:cNvSpPr>
            <p:nvPr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1" name="Oval 414"/>
            <p:cNvSpPr>
              <a:spLocks noChangeAspect="1" noChangeArrowheads="1"/>
            </p:cNvSpPr>
            <p:nvPr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2" name="Oval 415"/>
            <p:cNvSpPr>
              <a:spLocks noChangeAspect="1" noChangeArrowheads="1"/>
            </p:cNvSpPr>
            <p:nvPr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3" name="Oval 416"/>
            <p:cNvSpPr>
              <a:spLocks noChangeAspect="1" noChangeArrowheads="1"/>
            </p:cNvSpPr>
            <p:nvPr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4" name="Oval 417"/>
            <p:cNvSpPr>
              <a:spLocks noChangeAspect="1" noChangeArrowheads="1"/>
            </p:cNvSpPr>
            <p:nvPr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5" name="Oval 418"/>
            <p:cNvSpPr>
              <a:spLocks noChangeAspect="1" noChangeArrowheads="1"/>
            </p:cNvSpPr>
            <p:nvPr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6" name="Oval 419"/>
            <p:cNvSpPr>
              <a:spLocks noChangeAspect="1" noChangeArrowheads="1"/>
            </p:cNvSpPr>
            <p:nvPr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7" name="Oval 420"/>
            <p:cNvSpPr>
              <a:spLocks noChangeAspect="1" noChangeArrowheads="1"/>
            </p:cNvSpPr>
            <p:nvPr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8" name="Oval 421"/>
            <p:cNvSpPr>
              <a:spLocks noChangeAspect="1" noChangeArrowheads="1"/>
            </p:cNvSpPr>
            <p:nvPr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9" name="Oval 422"/>
            <p:cNvSpPr>
              <a:spLocks noChangeAspect="1" noChangeArrowheads="1"/>
            </p:cNvSpPr>
            <p:nvPr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0" name="Oval 423"/>
            <p:cNvSpPr>
              <a:spLocks noChangeAspect="1" noChangeArrowheads="1"/>
            </p:cNvSpPr>
            <p:nvPr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1" name="Oval 424"/>
            <p:cNvSpPr>
              <a:spLocks noChangeAspect="1" noChangeArrowheads="1"/>
            </p:cNvSpPr>
            <p:nvPr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2" name="Oval 425"/>
            <p:cNvSpPr>
              <a:spLocks noChangeAspect="1" noChangeArrowheads="1"/>
            </p:cNvSpPr>
            <p:nvPr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3" name="Oval 426"/>
            <p:cNvSpPr>
              <a:spLocks noChangeAspect="1" noChangeArrowheads="1"/>
            </p:cNvSpPr>
            <p:nvPr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4" name="Oval 427"/>
            <p:cNvSpPr>
              <a:spLocks noChangeAspect="1" noChangeArrowheads="1"/>
            </p:cNvSpPr>
            <p:nvPr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5" name="Oval 428"/>
            <p:cNvSpPr>
              <a:spLocks noChangeAspect="1" noChangeArrowheads="1"/>
            </p:cNvSpPr>
            <p:nvPr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6" name="Oval 429"/>
            <p:cNvSpPr>
              <a:spLocks noChangeAspect="1" noChangeArrowheads="1"/>
            </p:cNvSpPr>
            <p:nvPr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7" name="Oval 430"/>
            <p:cNvSpPr>
              <a:spLocks noChangeAspect="1" noChangeArrowheads="1"/>
            </p:cNvSpPr>
            <p:nvPr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8" name="Oval 431"/>
            <p:cNvSpPr>
              <a:spLocks noChangeAspect="1" noChangeArrowheads="1"/>
            </p:cNvSpPr>
            <p:nvPr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9" name="Oval 432"/>
            <p:cNvSpPr>
              <a:spLocks noChangeAspect="1" noChangeArrowheads="1"/>
            </p:cNvSpPr>
            <p:nvPr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0" name="Oval 433"/>
            <p:cNvSpPr>
              <a:spLocks noChangeAspect="1" noChangeArrowheads="1"/>
            </p:cNvSpPr>
            <p:nvPr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1" name="Oval 434"/>
            <p:cNvSpPr>
              <a:spLocks noChangeAspect="1" noChangeArrowheads="1"/>
            </p:cNvSpPr>
            <p:nvPr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2" name="Oval 435"/>
            <p:cNvSpPr>
              <a:spLocks noChangeAspect="1" noChangeArrowheads="1"/>
            </p:cNvSpPr>
            <p:nvPr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3" name="Oval 436"/>
            <p:cNvSpPr>
              <a:spLocks noChangeAspect="1" noChangeArrowheads="1"/>
            </p:cNvSpPr>
            <p:nvPr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4" name="Oval 437"/>
            <p:cNvSpPr>
              <a:spLocks noChangeAspect="1" noChangeArrowheads="1"/>
            </p:cNvSpPr>
            <p:nvPr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5" name="Oval 438"/>
            <p:cNvSpPr>
              <a:spLocks noChangeAspect="1" noChangeArrowheads="1"/>
            </p:cNvSpPr>
            <p:nvPr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6" name="Oval 439"/>
            <p:cNvSpPr>
              <a:spLocks noChangeAspect="1" noChangeArrowheads="1"/>
            </p:cNvSpPr>
            <p:nvPr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7" name="Oval 440"/>
            <p:cNvSpPr>
              <a:spLocks noChangeAspect="1" noChangeArrowheads="1"/>
            </p:cNvSpPr>
            <p:nvPr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8" name="Oval 441"/>
            <p:cNvSpPr>
              <a:spLocks noChangeAspect="1" noChangeArrowheads="1"/>
            </p:cNvSpPr>
            <p:nvPr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9" name="Oval 442"/>
            <p:cNvSpPr>
              <a:spLocks noChangeAspect="1" noChangeArrowheads="1"/>
            </p:cNvSpPr>
            <p:nvPr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0" name="Oval 443"/>
            <p:cNvSpPr>
              <a:spLocks noChangeAspect="1" noChangeArrowheads="1"/>
            </p:cNvSpPr>
            <p:nvPr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1" name="Oval 444"/>
            <p:cNvSpPr>
              <a:spLocks noChangeAspect="1" noChangeArrowheads="1"/>
            </p:cNvSpPr>
            <p:nvPr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2" name="Oval 445"/>
            <p:cNvSpPr>
              <a:spLocks noChangeAspect="1" noChangeArrowheads="1"/>
            </p:cNvSpPr>
            <p:nvPr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3" name="Oval 446"/>
            <p:cNvSpPr>
              <a:spLocks noChangeAspect="1" noChangeArrowheads="1"/>
            </p:cNvSpPr>
            <p:nvPr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4" name="Oval 447"/>
            <p:cNvSpPr>
              <a:spLocks noChangeAspect="1" noChangeArrowheads="1"/>
            </p:cNvSpPr>
            <p:nvPr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5" name="Oval 448"/>
            <p:cNvSpPr>
              <a:spLocks noChangeAspect="1" noChangeArrowheads="1"/>
            </p:cNvSpPr>
            <p:nvPr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6" name="Oval 449"/>
            <p:cNvSpPr>
              <a:spLocks noChangeAspect="1" noChangeArrowheads="1"/>
            </p:cNvSpPr>
            <p:nvPr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7" name="Oval 450"/>
            <p:cNvSpPr>
              <a:spLocks noChangeAspect="1" noChangeArrowheads="1"/>
            </p:cNvSpPr>
            <p:nvPr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8" name="Oval 451"/>
            <p:cNvSpPr>
              <a:spLocks noChangeAspect="1" noChangeArrowheads="1"/>
            </p:cNvSpPr>
            <p:nvPr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9" name="Oval 452"/>
            <p:cNvSpPr>
              <a:spLocks noChangeAspect="1" noChangeArrowheads="1"/>
            </p:cNvSpPr>
            <p:nvPr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0" name="Oval 453"/>
            <p:cNvSpPr>
              <a:spLocks noChangeAspect="1" noChangeArrowheads="1"/>
            </p:cNvSpPr>
            <p:nvPr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1" name="Oval 454"/>
            <p:cNvSpPr>
              <a:spLocks noChangeAspect="1" noChangeArrowheads="1"/>
            </p:cNvSpPr>
            <p:nvPr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2" name="Oval 455"/>
            <p:cNvSpPr>
              <a:spLocks noChangeAspect="1" noChangeArrowheads="1"/>
            </p:cNvSpPr>
            <p:nvPr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3" name="Oval 456"/>
            <p:cNvSpPr>
              <a:spLocks noChangeAspect="1" noChangeArrowheads="1"/>
            </p:cNvSpPr>
            <p:nvPr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4" name="Oval 457"/>
            <p:cNvSpPr>
              <a:spLocks noChangeAspect="1" noChangeArrowheads="1"/>
            </p:cNvSpPr>
            <p:nvPr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5" name="Oval 458"/>
            <p:cNvSpPr>
              <a:spLocks noChangeAspect="1" noChangeArrowheads="1"/>
            </p:cNvSpPr>
            <p:nvPr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6" name="Oval 459"/>
            <p:cNvSpPr>
              <a:spLocks noChangeAspect="1" noChangeArrowheads="1"/>
            </p:cNvSpPr>
            <p:nvPr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7" name="Oval 460"/>
            <p:cNvSpPr>
              <a:spLocks noChangeAspect="1" noChangeArrowheads="1"/>
            </p:cNvSpPr>
            <p:nvPr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8" name="Oval 461"/>
            <p:cNvSpPr>
              <a:spLocks noChangeAspect="1" noChangeArrowheads="1"/>
            </p:cNvSpPr>
            <p:nvPr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9" name="Oval 462"/>
            <p:cNvSpPr>
              <a:spLocks noChangeAspect="1" noChangeArrowheads="1"/>
            </p:cNvSpPr>
            <p:nvPr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0" name="Oval 463"/>
            <p:cNvSpPr>
              <a:spLocks noChangeAspect="1" noChangeArrowheads="1"/>
            </p:cNvSpPr>
            <p:nvPr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1" name="Oval 464"/>
            <p:cNvSpPr>
              <a:spLocks noChangeAspect="1" noChangeArrowheads="1"/>
            </p:cNvSpPr>
            <p:nvPr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2" name="Oval 465"/>
            <p:cNvSpPr>
              <a:spLocks noChangeAspect="1" noChangeArrowheads="1"/>
            </p:cNvSpPr>
            <p:nvPr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3" name="Oval 466"/>
            <p:cNvSpPr>
              <a:spLocks noChangeAspect="1" noChangeArrowheads="1"/>
            </p:cNvSpPr>
            <p:nvPr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4" name="Oval 467"/>
            <p:cNvSpPr>
              <a:spLocks noChangeAspect="1" noChangeArrowheads="1"/>
            </p:cNvSpPr>
            <p:nvPr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5" name="Oval 468"/>
            <p:cNvSpPr>
              <a:spLocks noChangeAspect="1" noChangeArrowheads="1"/>
            </p:cNvSpPr>
            <p:nvPr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6" name="Oval 469"/>
            <p:cNvSpPr>
              <a:spLocks noChangeAspect="1" noChangeArrowheads="1"/>
            </p:cNvSpPr>
            <p:nvPr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7" name="Oval 470"/>
            <p:cNvSpPr>
              <a:spLocks noChangeAspect="1" noChangeArrowheads="1"/>
            </p:cNvSpPr>
            <p:nvPr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8" name="Oval 471"/>
            <p:cNvSpPr>
              <a:spLocks noChangeAspect="1" noChangeArrowheads="1"/>
            </p:cNvSpPr>
            <p:nvPr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9" name="Oval 472"/>
            <p:cNvSpPr>
              <a:spLocks noChangeAspect="1" noChangeArrowheads="1"/>
            </p:cNvSpPr>
            <p:nvPr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0" name="Oval 473"/>
            <p:cNvSpPr>
              <a:spLocks noChangeAspect="1" noChangeArrowheads="1"/>
            </p:cNvSpPr>
            <p:nvPr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1" name="Oval 474"/>
            <p:cNvSpPr>
              <a:spLocks noChangeAspect="1" noChangeArrowheads="1"/>
            </p:cNvSpPr>
            <p:nvPr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2" name="Oval 475"/>
            <p:cNvSpPr>
              <a:spLocks noChangeAspect="1" noChangeArrowheads="1"/>
            </p:cNvSpPr>
            <p:nvPr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3" name="Oval 476"/>
            <p:cNvSpPr>
              <a:spLocks noChangeAspect="1" noChangeArrowheads="1"/>
            </p:cNvSpPr>
            <p:nvPr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4" name="Oval 477"/>
            <p:cNvSpPr>
              <a:spLocks noChangeAspect="1" noChangeArrowheads="1"/>
            </p:cNvSpPr>
            <p:nvPr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5" name="Oval 478"/>
            <p:cNvSpPr>
              <a:spLocks noChangeAspect="1" noChangeArrowheads="1"/>
            </p:cNvSpPr>
            <p:nvPr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6" name="Oval 479"/>
            <p:cNvSpPr>
              <a:spLocks noChangeAspect="1" noChangeArrowheads="1"/>
            </p:cNvSpPr>
            <p:nvPr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7" name="Oval 480"/>
            <p:cNvSpPr>
              <a:spLocks noChangeAspect="1" noChangeArrowheads="1"/>
            </p:cNvSpPr>
            <p:nvPr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8" name="Oval 481"/>
            <p:cNvSpPr>
              <a:spLocks noChangeAspect="1" noChangeArrowheads="1"/>
            </p:cNvSpPr>
            <p:nvPr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9" name="Oval 482"/>
            <p:cNvSpPr>
              <a:spLocks noChangeAspect="1" noChangeArrowheads="1"/>
            </p:cNvSpPr>
            <p:nvPr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0" name="Oval 483"/>
            <p:cNvSpPr>
              <a:spLocks noChangeAspect="1" noChangeArrowheads="1"/>
            </p:cNvSpPr>
            <p:nvPr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1" name="Oval 484"/>
            <p:cNvSpPr>
              <a:spLocks noChangeAspect="1" noChangeArrowheads="1"/>
            </p:cNvSpPr>
            <p:nvPr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2" name="Oval 485"/>
            <p:cNvSpPr>
              <a:spLocks noChangeAspect="1" noChangeArrowheads="1"/>
            </p:cNvSpPr>
            <p:nvPr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3" name="Oval 486"/>
            <p:cNvSpPr>
              <a:spLocks noChangeAspect="1" noChangeArrowheads="1"/>
            </p:cNvSpPr>
            <p:nvPr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4" name="Oval 487"/>
            <p:cNvSpPr>
              <a:spLocks noChangeAspect="1" noChangeArrowheads="1"/>
            </p:cNvSpPr>
            <p:nvPr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5" name="Oval 488"/>
            <p:cNvSpPr>
              <a:spLocks noChangeAspect="1" noChangeArrowheads="1"/>
            </p:cNvSpPr>
            <p:nvPr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6" name="Oval 489"/>
            <p:cNvSpPr>
              <a:spLocks noChangeAspect="1" noChangeArrowheads="1"/>
            </p:cNvSpPr>
            <p:nvPr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7" name="Oval 490"/>
            <p:cNvSpPr>
              <a:spLocks noChangeAspect="1" noChangeArrowheads="1"/>
            </p:cNvSpPr>
            <p:nvPr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8" name="Oval 491"/>
            <p:cNvSpPr>
              <a:spLocks noChangeAspect="1" noChangeArrowheads="1"/>
            </p:cNvSpPr>
            <p:nvPr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9" name="Oval 492"/>
            <p:cNvSpPr>
              <a:spLocks noChangeAspect="1" noChangeArrowheads="1"/>
            </p:cNvSpPr>
            <p:nvPr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0" name="Oval 493"/>
            <p:cNvSpPr>
              <a:spLocks noChangeAspect="1" noChangeArrowheads="1"/>
            </p:cNvSpPr>
            <p:nvPr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1" name="Oval 494"/>
            <p:cNvSpPr>
              <a:spLocks noChangeAspect="1" noChangeArrowheads="1"/>
            </p:cNvSpPr>
            <p:nvPr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2" name="Oval 495"/>
            <p:cNvSpPr>
              <a:spLocks noChangeAspect="1" noChangeArrowheads="1"/>
            </p:cNvSpPr>
            <p:nvPr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3" name="Oval 496"/>
            <p:cNvSpPr>
              <a:spLocks noChangeAspect="1" noChangeArrowheads="1"/>
            </p:cNvSpPr>
            <p:nvPr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4" name="Oval 497"/>
            <p:cNvSpPr>
              <a:spLocks noChangeAspect="1" noChangeArrowheads="1"/>
            </p:cNvSpPr>
            <p:nvPr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5" name="Oval 498"/>
            <p:cNvSpPr>
              <a:spLocks noChangeAspect="1" noChangeArrowheads="1"/>
            </p:cNvSpPr>
            <p:nvPr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6" name="Oval 499"/>
            <p:cNvSpPr>
              <a:spLocks noChangeAspect="1" noChangeArrowheads="1"/>
            </p:cNvSpPr>
            <p:nvPr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7" name="Oval 500"/>
            <p:cNvSpPr>
              <a:spLocks noChangeAspect="1" noChangeArrowheads="1"/>
            </p:cNvSpPr>
            <p:nvPr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8" name="Oval 501"/>
            <p:cNvSpPr>
              <a:spLocks noChangeAspect="1" noChangeArrowheads="1"/>
            </p:cNvSpPr>
            <p:nvPr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9" name="Oval 502"/>
            <p:cNvSpPr>
              <a:spLocks noChangeAspect="1" noChangeArrowheads="1"/>
            </p:cNvSpPr>
            <p:nvPr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0" name="Oval 503"/>
            <p:cNvSpPr>
              <a:spLocks noChangeAspect="1" noChangeArrowheads="1"/>
            </p:cNvSpPr>
            <p:nvPr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1" name="Oval 504"/>
            <p:cNvSpPr>
              <a:spLocks noChangeAspect="1" noChangeArrowheads="1"/>
            </p:cNvSpPr>
            <p:nvPr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2" name="Oval 505"/>
            <p:cNvSpPr>
              <a:spLocks noChangeAspect="1" noChangeArrowheads="1"/>
            </p:cNvSpPr>
            <p:nvPr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3" name="Oval 506"/>
            <p:cNvSpPr>
              <a:spLocks noChangeAspect="1" noChangeArrowheads="1"/>
            </p:cNvSpPr>
            <p:nvPr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4" name="Oval 507"/>
            <p:cNvSpPr>
              <a:spLocks noChangeAspect="1" noChangeArrowheads="1"/>
            </p:cNvSpPr>
            <p:nvPr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5" name="Oval 508"/>
            <p:cNvSpPr>
              <a:spLocks noChangeAspect="1" noChangeArrowheads="1"/>
            </p:cNvSpPr>
            <p:nvPr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6" name="Oval 509"/>
            <p:cNvSpPr>
              <a:spLocks noChangeAspect="1" noChangeArrowheads="1"/>
            </p:cNvSpPr>
            <p:nvPr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7" name="Oval 510"/>
            <p:cNvSpPr>
              <a:spLocks noChangeAspect="1" noChangeArrowheads="1"/>
            </p:cNvSpPr>
            <p:nvPr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8" name="Oval 511"/>
            <p:cNvSpPr>
              <a:spLocks noChangeAspect="1" noChangeArrowheads="1"/>
            </p:cNvSpPr>
            <p:nvPr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9" name="Oval 512"/>
            <p:cNvSpPr>
              <a:spLocks noChangeAspect="1" noChangeArrowheads="1"/>
            </p:cNvSpPr>
            <p:nvPr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0" name="Oval 513"/>
            <p:cNvSpPr>
              <a:spLocks noChangeAspect="1" noChangeArrowheads="1"/>
            </p:cNvSpPr>
            <p:nvPr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1" name="Oval 514"/>
            <p:cNvSpPr>
              <a:spLocks noChangeAspect="1" noChangeArrowheads="1"/>
            </p:cNvSpPr>
            <p:nvPr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2" name="Oval 515"/>
            <p:cNvSpPr>
              <a:spLocks noChangeAspect="1" noChangeArrowheads="1"/>
            </p:cNvSpPr>
            <p:nvPr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3" name="Oval 516"/>
            <p:cNvSpPr>
              <a:spLocks noChangeAspect="1" noChangeArrowheads="1"/>
            </p:cNvSpPr>
            <p:nvPr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4" name="Oval 517"/>
            <p:cNvSpPr>
              <a:spLocks noChangeAspect="1" noChangeArrowheads="1"/>
            </p:cNvSpPr>
            <p:nvPr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5" name="Oval 518"/>
            <p:cNvSpPr>
              <a:spLocks noChangeAspect="1" noChangeArrowheads="1"/>
            </p:cNvSpPr>
            <p:nvPr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6" name="Oval 519"/>
            <p:cNvSpPr>
              <a:spLocks noChangeAspect="1" noChangeArrowheads="1"/>
            </p:cNvSpPr>
            <p:nvPr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7" name="Oval 520"/>
            <p:cNvSpPr>
              <a:spLocks noChangeAspect="1" noChangeArrowheads="1"/>
            </p:cNvSpPr>
            <p:nvPr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8" name="Oval 521"/>
            <p:cNvSpPr>
              <a:spLocks noChangeAspect="1" noChangeArrowheads="1"/>
            </p:cNvSpPr>
            <p:nvPr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9" name="Oval 522"/>
            <p:cNvSpPr>
              <a:spLocks noChangeAspect="1" noChangeArrowheads="1"/>
            </p:cNvSpPr>
            <p:nvPr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0" name="Oval 523"/>
            <p:cNvSpPr>
              <a:spLocks noChangeAspect="1" noChangeArrowheads="1"/>
            </p:cNvSpPr>
            <p:nvPr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1" name="Oval 524"/>
            <p:cNvSpPr>
              <a:spLocks noChangeAspect="1" noChangeArrowheads="1"/>
            </p:cNvSpPr>
            <p:nvPr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2" name="Oval 525"/>
            <p:cNvSpPr>
              <a:spLocks noChangeAspect="1" noChangeArrowheads="1"/>
            </p:cNvSpPr>
            <p:nvPr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3" name="Oval 526"/>
            <p:cNvSpPr>
              <a:spLocks noChangeAspect="1" noChangeArrowheads="1"/>
            </p:cNvSpPr>
            <p:nvPr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4" name="Oval 527"/>
            <p:cNvSpPr>
              <a:spLocks noChangeAspect="1" noChangeArrowheads="1"/>
            </p:cNvSpPr>
            <p:nvPr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5" name="Oval 528"/>
            <p:cNvSpPr>
              <a:spLocks noChangeAspect="1" noChangeArrowheads="1"/>
            </p:cNvSpPr>
            <p:nvPr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6" name="Oval 529"/>
            <p:cNvSpPr>
              <a:spLocks noChangeAspect="1" noChangeArrowheads="1"/>
            </p:cNvSpPr>
            <p:nvPr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7" name="Oval 530"/>
            <p:cNvSpPr>
              <a:spLocks noChangeAspect="1" noChangeArrowheads="1"/>
            </p:cNvSpPr>
            <p:nvPr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8" name="Oval 531"/>
            <p:cNvSpPr>
              <a:spLocks noChangeAspect="1" noChangeArrowheads="1"/>
            </p:cNvSpPr>
            <p:nvPr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9" name="Oval 532"/>
            <p:cNvSpPr>
              <a:spLocks noChangeAspect="1" noChangeArrowheads="1"/>
            </p:cNvSpPr>
            <p:nvPr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0" name="Oval 533"/>
            <p:cNvSpPr>
              <a:spLocks noChangeAspect="1" noChangeArrowheads="1"/>
            </p:cNvSpPr>
            <p:nvPr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1" name="Oval 534"/>
            <p:cNvSpPr>
              <a:spLocks noChangeAspect="1" noChangeArrowheads="1"/>
            </p:cNvSpPr>
            <p:nvPr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2" name="Oval 535"/>
            <p:cNvSpPr>
              <a:spLocks noChangeAspect="1" noChangeArrowheads="1"/>
            </p:cNvSpPr>
            <p:nvPr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3" name="Oval 536"/>
            <p:cNvSpPr>
              <a:spLocks noChangeAspect="1" noChangeArrowheads="1"/>
            </p:cNvSpPr>
            <p:nvPr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4" name="Oval 537"/>
            <p:cNvSpPr>
              <a:spLocks noChangeAspect="1" noChangeArrowheads="1"/>
            </p:cNvSpPr>
            <p:nvPr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5" name="Oval 538"/>
            <p:cNvSpPr>
              <a:spLocks noChangeAspect="1" noChangeArrowheads="1"/>
            </p:cNvSpPr>
            <p:nvPr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6" name="Oval 539"/>
            <p:cNvSpPr>
              <a:spLocks noChangeAspect="1" noChangeArrowheads="1"/>
            </p:cNvSpPr>
            <p:nvPr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7" name="Oval 540"/>
            <p:cNvSpPr>
              <a:spLocks noChangeAspect="1" noChangeArrowheads="1"/>
            </p:cNvSpPr>
            <p:nvPr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8" name="Oval 541"/>
            <p:cNvSpPr>
              <a:spLocks noChangeAspect="1" noChangeArrowheads="1"/>
            </p:cNvSpPr>
            <p:nvPr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9" name="Oval 542"/>
            <p:cNvSpPr>
              <a:spLocks noChangeAspect="1" noChangeArrowheads="1"/>
            </p:cNvSpPr>
            <p:nvPr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0" name="Oval 543"/>
            <p:cNvSpPr>
              <a:spLocks noChangeAspect="1" noChangeArrowheads="1"/>
            </p:cNvSpPr>
            <p:nvPr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1" name="Oval 544"/>
            <p:cNvSpPr>
              <a:spLocks noChangeAspect="1" noChangeArrowheads="1"/>
            </p:cNvSpPr>
            <p:nvPr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2" name="Oval 545"/>
            <p:cNvSpPr>
              <a:spLocks noChangeAspect="1" noChangeArrowheads="1"/>
            </p:cNvSpPr>
            <p:nvPr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3" name="Oval 546"/>
            <p:cNvSpPr>
              <a:spLocks noChangeAspect="1" noChangeArrowheads="1"/>
            </p:cNvSpPr>
            <p:nvPr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4" name="Oval 547"/>
            <p:cNvSpPr>
              <a:spLocks noChangeAspect="1" noChangeArrowheads="1"/>
            </p:cNvSpPr>
            <p:nvPr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5" name="Oval 548"/>
            <p:cNvSpPr>
              <a:spLocks noChangeAspect="1" noChangeArrowheads="1"/>
            </p:cNvSpPr>
            <p:nvPr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6" name="Oval 549"/>
            <p:cNvSpPr>
              <a:spLocks noChangeAspect="1" noChangeArrowheads="1"/>
            </p:cNvSpPr>
            <p:nvPr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7" name="Oval 550"/>
            <p:cNvSpPr>
              <a:spLocks noChangeAspect="1" noChangeArrowheads="1"/>
            </p:cNvSpPr>
            <p:nvPr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8" name="Oval 551"/>
            <p:cNvSpPr>
              <a:spLocks noChangeAspect="1" noChangeArrowheads="1"/>
            </p:cNvSpPr>
            <p:nvPr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9" name="Oval 552"/>
            <p:cNvSpPr>
              <a:spLocks noChangeAspect="1" noChangeArrowheads="1"/>
            </p:cNvSpPr>
            <p:nvPr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0" name="Oval 553"/>
            <p:cNvSpPr>
              <a:spLocks noChangeAspect="1" noChangeArrowheads="1"/>
            </p:cNvSpPr>
            <p:nvPr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1" name="Oval 554"/>
            <p:cNvSpPr>
              <a:spLocks noChangeAspect="1" noChangeArrowheads="1"/>
            </p:cNvSpPr>
            <p:nvPr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2" name="Oval 555"/>
            <p:cNvSpPr>
              <a:spLocks noChangeAspect="1" noChangeArrowheads="1"/>
            </p:cNvSpPr>
            <p:nvPr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3" name="Oval 556"/>
            <p:cNvSpPr>
              <a:spLocks noChangeAspect="1" noChangeArrowheads="1"/>
            </p:cNvSpPr>
            <p:nvPr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4" name="Oval 557"/>
            <p:cNvSpPr>
              <a:spLocks noChangeAspect="1" noChangeArrowheads="1"/>
            </p:cNvSpPr>
            <p:nvPr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5" name="Oval 558"/>
            <p:cNvSpPr>
              <a:spLocks noChangeAspect="1" noChangeArrowheads="1"/>
            </p:cNvSpPr>
            <p:nvPr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6" name="Oval 559"/>
            <p:cNvSpPr>
              <a:spLocks noChangeAspect="1" noChangeArrowheads="1"/>
            </p:cNvSpPr>
            <p:nvPr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7" name="Oval 560"/>
            <p:cNvSpPr>
              <a:spLocks noChangeAspect="1" noChangeArrowheads="1"/>
            </p:cNvSpPr>
            <p:nvPr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8" name="Oval 561"/>
            <p:cNvSpPr>
              <a:spLocks noChangeAspect="1" noChangeArrowheads="1"/>
            </p:cNvSpPr>
            <p:nvPr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9" name="Oval 562"/>
            <p:cNvSpPr>
              <a:spLocks noChangeAspect="1" noChangeArrowheads="1"/>
            </p:cNvSpPr>
            <p:nvPr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0" name="Oval 563"/>
            <p:cNvSpPr>
              <a:spLocks noChangeAspect="1" noChangeArrowheads="1"/>
            </p:cNvSpPr>
            <p:nvPr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1" name="Oval 564"/>
            <p:cNvSpPr>
              <a:spLocks noChangeAspect="1" noChangeArrowheads="1"/>
            </p:cNvSpPr>
            <p:nvPr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2" name="Oval 565"/>
            <p:cNvSpPr>
              <a:spLocks noChangeAspect="1" noChangeArrowheads="1"/>
            </p:cNvSpPr>
            <p:nvPr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3" name="Oval 566"/>
            <p:cNvSpPr>
              <a:spLocks noChangeAspect="1" noChangeArrowheads="1"/>
            </p:cNvSpPr>
            <p:nvPr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4" name="Oval 567"/>
            <p:cNvSpPr>
              <a:spLocks noChangeAspect="1" noChangeArrowheads="1"/>
            </p:cNvSpPr>
            <p:nvPr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5" name="Oval 568"/>
            <p:cNvSpPr>
              <a:spLocks noChangeAspect="1" noChangeArrowheads="1"/>
            </p:cNvSpPr>
            <p:nvPr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6" name="Oval 569"/>
            <p:cNvSpPr>
              <a:spLocks noChangeAspect="1" noChangeArrowheads="1"/>
            </p:cNvSpPr>
            <p:nvPr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7" name="Oval 570"/>
            <p:cNvSpPr>
              <a:spLocks noChangeAspect="1" noChangeArrowheads="1"/>
            </p:cNvSpPr>
            <p:nvPr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8" name="Oval 571"/>
            <p:cNvSpPr>
              <a:spLocks noChangeAspect="1" noChangeArrowheads="1"/>
            </p:cNvSpPr>
            <p:nvPr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9" name="Oval 572"/>
            <p:cNvSpPr>
              <a:spLocks noChangeAspect="1" noChangeArrowheads="1"/>
            </p:cNvSpPr>
            <p:nvPr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0" name="Oval 573"/>
            <p:cNvSpPr>
              <a:spLocks noChangeAspect="1" noChangeArrowheads="1"/>
            </p:cNvSpPr>
            <p:nvPr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1" name="Oval 574"/>
            <p:cNvSpPr>
              <a:spLocks noChangeAspect="1" noChangeArrowheads="1"/>
            </p:cNvSpPr>
            <p:nvPr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2" name="Oval 575"/>
            <p:cNvSpPr>
              <a:spLocks noChangeAspect="1" noChangeArrowheads="1"/>
            </p:cNvSpPr>
            <p:nvPr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3" name="Oval 576"/>
            <p:cNvSpPr>
              <a:spLocks noChangeAspect="1" noChangeArrowheads="1"/>
            </p:cNvSpPr>
            <p:nvPr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4" name="Oval 577"/>
            <p:cNvSpPr>
              <a:spLocks noChangeAspect="1" noChangeArrowheads="1"/>
            </p:cNvSpPr>
            <p:nvPr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5" name="Oval 578"/>
            <p:cNvSpPr>
              <a:spLocks noChangeAspect="1" noChangeArrowheads="1"/>
            </p:cNvSpPr>
            <p:nvPr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6" name="Oval 579"/>
            <p:cNvSpPr>
              <a:spLocks noChangeAspect="1" noChangeArrowheads="1"/>
            </p:cNvSpPr>
            <p:nvPr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7" name="Oval 580"/>
            <p:cNvSpPr>
              <a:spLocks noChangeAspect="1" noChangeArrowheads="1"/>
            </p:cNvSpPr>
            <p:nvPr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8" name="Oval 581"/>
            <p:cNvSpPr>
              <a:spLocks noChangeAspect="1" noChangeArrowheads="1"/>
            </p:cNvSpPr>
            <p:nvPr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9" name="Oval 582"/>
            <p:cNvSpPr>
              <a:spLocks noChangeAspect="1" noChangeArrowheads="1"/>
            </p:cNvSpPr>
            <p:nvPr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0" name="Oval 583"/>
            <p:cNvSpPr>
              <a:spLocks noChangeAspect="1" noChangeArrowheads="1"/>
            </p:cNvSpPr>
            <p:nvPr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1" name="Oval 584"/>
            <p:cNvSpPr>
              <a:spLocks noChangeAspect="1" noChangeArrowheads="1"/>
            </p:cNvSpPr>
            <p:nvPr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2" name="Oval 585"/>
            <p:cNvSpPr>
              <a:spLocks noChangeAspect="1" noChangeArrowheads="1"/>
            </p:cNvSpPr>
            <p:nvPr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3" name="Oval 586"/>
            <p:cNvSpPr>
              <a:spLocks noChangeAspect="1" noChangeArrowheads="1"/>
            </p:cNvSpPr>
            <p:nvPr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4" name="Oval 587"/>
            <p:cNvSpPr>
              <a:spLocks noChangeAspect="1" noChangeArrowheads="1"/>
            </p:cNvSpPr>
            <p:nvPr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5" name="Oval 588"/>
            <p:cNvSpPr>
              <a:spLocks noChangeAspect="1" noChangeArrowheads="1"/>
            </p:cNvSpPr>
            <p:nvPr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6" name="Oval 589"/>
            <p:cNvSpPr>
              <a:spLocks noChangeAspect="1" noChangeArrowheads="1"/>
            </p:cNvSpPr>
            <p:nvPr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7" name="Oval 590"/>
            <p:cNvSpPr>
              <a:spLocks noChangeAspect="1" noChangeArrowheads="1"/>
            </p:cNvSpPr>
            <p:nvPr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8" name="Oval 591"/>
            <p:cNvSpPr>
              <a:spLocks noChangeAspect="1" noChangeArrowheads="1"/>
            </p:cNvSpPr>
            <p:nvPr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9" name="Oval 592"/>
            <p:cNvSpPr>
              <a:spLocks noChangeAspect="1" noChangeArrowheads="1"/>
            </p:cNvSpPr>
            <p:nvPr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0" name="Oval 593"/>
            <p:cNvSpPr>
              <a:spLocks noChangeAspect="1" noChangeArrowheads="1"/>
            </p:cNvSpPr>
            <p:nvPr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1" name="Oval 594"/>
            <p:cNvSpPr>
              <a:spLocks noChangeAspect="1" noChangeArrowheads="1"/>
            </p:cNvSpPr>
            <p:nvPr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2" name="Oval 595"/>
            <p:cNvSpPr>
              <a:spLocks noChangeAspect="1" noChangeArrowheads="1"/>
            </p:cNvSpPr>
            <p:nvPr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3" name="Oval 596"/>
            <p:cNvSpPr>
              <a:spLocks noChangeAspect="1" noChangeArrowheads="1"/>
            </p:cNvSpPr>
            <p:nvPr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4" name="Oval 597"/>
            <p:cNvSpPr>
              <a:spLocks noChangeAspect="1" noChangeArrowheads="1"/>
            </p:cNvSpPr>
            <p:nvPr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5" name="Oval 598"/>
            <p:cNvSpPr>
              <a:spLocks noChangeAspect="1" noChangeArrowheads="1"/>
            </p:cNvSpPr>
            <p:nvPr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6" name="Oval 599"/>
            <p:cNvSpPr>
              <a:spLocks noChangeAspect="1" noChangeArrowheads="1"/>
            </p:cNvSpPr>
            <p:nvPr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7" name="Oval 600"/>
            <p:cNvSpPr>
              <a:spLocks noChangeAspect="1" noChangeArrowheads="1"/>
            </p:cNvSpPr>
            <p:nvPr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8" name="Oval 601"/>
            <p:cNvSpPr>
              <a:spLocks noChangeAspect="1" noChangeArrowheads="1"/>
            </p:cNvSpPr>
            <p:nvPr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9" name="Oval 602"/>
            <p:cNvSpPr>
              <a:spLocks noChangeAspect="1" noChangeArrowheads="1"/>
            </p:cNvSpPr>
            <p:nvPr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0" name="Oval 603"/>
            <p:cNvSpPr>
              <a:spLocks noChangeAspect="1" noChangeArrowheads="1"/>
            </p:cNvSpPr>
            <p:nvPr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1" name="Oval 604"/>
            <p:cNvSpPr>
              <a:spLocks noChangeAspect="1" noChangeArrowheads="1"/>
            </p:cNvSpPr>
            <p:nvPr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2" name="Oval 605"/>
            <p:cNvSpPr>
              <a:spLocks noChangeAspect="1" noChangeArrowheads="1"/>
            </p:cNvSpPr>
            <p:nvPr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3" name="Oval 606"/>
            <p:cNvSpPr>
              <a:spLocks noChangeAspect="1" noChangeArrowheads="1"/>
            </p:cNvSpPr>
            <p:nvPr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4" name="Oval 607"/>
            <p:cNvSpPr>
              <a:spLocks noChangeAspect="1" noChangeArrowheads="1"/>
            </p:cNvSpPr>
            <p:nvPr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5" name="Oval 608"/>
            <p:cNvSpPr>
              <a:spLocks noChangeAspect="1" noChangeArrowheads="1"/>
            </p:cNvSpPr>
            <p:nvPr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6" name="Oval 609"/>
            <p:cNvSpPr>
              <a:spLocks noChangeAspect="1" noChangeArrowheads="1"/>
            </p:cNvSpPr>
            <p:nvPr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7" name="Oval 610"/>
            <p:cNvSpPr>
              <a:spLocks noChangeAspect="1" noChangeArrowheads="1"/>
            </p:cNvSpPr>
            <p:nvPr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8" name="Oval 611"/>
            <p:cNvSpPr>
              <a:spLocks noChangeAspect="1" noChangeArrowheads="1"/>
            </p:cNvSpPr>
            <p:nvPr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9" name="Oval 612"/>
            <p:cNvSpPr>
              <a:spLocks noChangeAspect="1" noChangeArrowheads="1"/>
            </p:cNvSpPr>
            <p:nvPr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0" name="Oval 613"/>
            <p:cNvSpPr>
              <a:spLocks noChangeAspect="1" noChangeArrowheads="1"/>
            </p:cNvSpPr>
            <p:nvPr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1" name="Oval 614"/>
            <p:cNvSpPr>
              <a:spLocks noChangeAspect="1" noChangeArrowheads="1"/>
            </p:cNvSpPr>
            <p:nvPr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2" name="Oval 615"/>
            <p:cNvSpPr>
              <a:spLocks noChangeAspect="1" noChangeArrowheads="1"/>
            </p:cNvSpPr>
            <p:nvPr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3" name="Oval 616"/>
            <p:cNvSpPr>
              <a:spLocks noChangeAspect="1" noChangeArrowheads="1"/>
            </p:cNvSpPr>
            <p:nvPr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4" name="Oval 617"/>
            <p:cNvSpPr>
              <a:spLocks noChangeAspect="1" noChangeArrowheads="1"/>
            </p:cNvSpPr>
            <p:nvPr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5" name="Oval 618"/>
            <p:cNvSpPr>
              <a:spLocks noChangeAspect="1" noChangeArrowheads="1"/>
            </p:cNvSpPr>
            <p:nvPr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6" name="Oval 619"/>
            <p:cNvSpPr>
              <a:spLocks noChangeAspect="1" noChangeArrowheads="1"/>
            </p:cNvSpPr>
            <p:nvPr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7" name="Oval 620"/>
            <p:cNvSpPr>
              <a:spLocks noChangeAspect="1" noChangeArrowheads="1"/>
            </p:cNvSpPr>
            <p:nvPr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8" name="Oval 621"/>
            <p:cNvSpPr>
              <a:spLocks noChangeAspect="1" noChangeArrowheads="1"/>
            </p:cNvSpPr>
            <p:nvPr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9" name="Oval 622"/>
            <p:cNvSpPr>
              <a:spLocks noChangeAspect="1" noChangeArrowheads="1"/>
            </p:cNvSpPr>
            <p:nvPr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0" name="Oval 623"/>
            <p:cNvSpPr>
              <a:spLocks noChangeAspect="1" noChangeArrowheads="1"/>
            </p:cNvSpPr>
            <p:nvPr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1" name="Oval 624"/>
            <p:cNvSpPr>
              <a:spLocks noChangeAspect="1" noChangeArrowheads="1"/>
            </p:cNvSpPr>
            <p:nvPr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2" name="Oval 625"/>
            <p:cNvSpPr>
              <a:spLocks noChangeAspect="1" noChangeArrowheads="1"/>
            </p:cNvSpPr>
            <p:nvPr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3" name="Oval 626"/>
            <p:cNvSpPr>
              <a:spLocks noChangeAspect="1" noChangeArrowheads="1"/>
            </p:cNvSpPr>
            <p:nvPr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4" name="Oval 627"/>
            <p:cNvSpPr>
              <a:spLocks noChangeAspect="1" noChangeArrowheads="1"/>
            </p:cNvSpPr>
            <p:nvPr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5" name="Oval 628"/>
            <p:cNvSpPr>
              <a:spLocks noChangeAspect="1" noChangeArrowheads="1"/>
            </p:cNvSpPr>
            <p:nvPr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6" name="Oval 629"/>
            <p:cNvSpPr>
              <a:spLocks noChangeAspect="1" noChangeArrowheads="1"/>
            </p:cNvSpPr>
            <p:nvPr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7" name="Oval 630"/>
            <p:cNvSpPr>
              <a:spLocks noChangeAspect="1" noChangeArrowheads="1"/>
            </p:cNvSpPr>
            <p:nvPr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8" name="Oval 631"/>
            <p:cNvSpPr>
              <a:spLocks noChangeAspect="1" noChangeArrowheads="1"/>
            </p:cNvSpPr>
            <p:nvPr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9" name="Oval 632"/>
            <p:cNvSpPr>
              <a:spLocks noChangeAspect="1" noChangeArrowheads="1"/>
            </p:cNvSpPr>
            <p:nvPr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0" name="Oval 633"/>
            <p:cNvSpPr>
              <a:spLocks noChangeAspect="1" noChangeArrowheads="1"/>
            </p:cNvSpPr>
            <p:nvPr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1" name="Oval 634"/>
            <p:cNvSpPr>
              <a:spLocks noChangeAspect="1" noChangeArrowheads="1"/>
            </p:cNvSpPr>
            <p:nvPr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2" name="Oval 635"/>
            <p:cNvSpPr>
              <a:spLocks noChangeAspect="1" noChangeArrowheads="1"/>
            </p:cNvSpPr>
            <p:nvPr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3" name="Oval 636"/>
            <p:cNvSpPr>
              <a:spLocks noChangeAspect="1" noChangeArrowheads="1"/>
            </p:cNvSpPr>
            <p:nvPr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4" name="Oval 637"/>
            <p:cNvSpPr>
              <a:spLocks noChangeAspect="1" noChangeArrowheads="1"/>
            </p:cNvSpPr>
            <p:nvPr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5" name="Oval 638"/>
            <p:cNvSpPr>
              <a:spLocks noChangeAspect="1" noChangeArrowheads="1"/>
            </p:cNvSpPr>
            <p:nvPr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6" name="Oval 639"/>
            <p:cNvSpPr>
              <a:spLocks noChangeAspect="1" noChangeArrowheads="1"/>
            </p:cNvSpPr>
            <p:nvPr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7" name="Oval 640"/>
            <p:cNvSpPr>
              <a:spLocks noChangeAspect="1" noChangeArrowheads="1"/>
            </p:cNvSpPr>
            <p:nvPr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8" name="Oval 641"/>
            <p:cNvSpPr>
              <a:spLocks noChangeAspect="1" noChangeArrowheads="1"/>
            </p:cNvSpPr>
            <p:nvPr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9" name="Oval 642"/>
            <p:cNvSpPr>
              <a:spLocks noChangeAspect="1" noChangeArrowheads="1"/>
            </p:cNvSpPr>
            <p:nvPr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0" name="Oval 643"/>
            <p:cNvSpPr>
              <a:spLocks noChangeAspect="1" noChangeArrowheads="1"/>
            </p:cNvSpPr>
            <p:nvPr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1" name="Oval 644"/>
            <p:cNvSpPr>
              <a:spLocks noChangeAspect="1" noChangeArrowheads="1"/>
            </p:cNvSpPr>
            <p:nvPr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2" name="Oval 645"/>
            <p:cNvSpPr>
              <a:spLocks noChangeAspect="1" noChangeArrowheads="1"/>
            </p:cNvSpPr>
            <p:nvPr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3" name="Oval 646"/>
            <p:cNvSpPr>
              <a:spLocks noChangeAspect="1" noChangeArrowheads="1"/>
            </p:cNvSpPr>
            <p:nvPr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4" name="Oval 647"/>
            <p:cNvSpPr>
              <a:spLocks noChangeAspect="1" noChangeArrowheads="1"/>
            </p:cNvSpPr>
            <p:nvPr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5" name="Oval 648"/>
            <p:cNvSpPr>
              <a:spLocks noChangeAspect="1" noChangeArrowheads="1"/>
            </p:cNvSpPr>
            <p:nvPr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6" name="Oval 649"/>
            <p:cNvSpPr>
              <a:spLocks noChangeAspect="1" noChangeArrowheads="1"/>
            </p:cNvSpPr>
            <p:nvPr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7" name="Oval 650"/>
            <p:cNvSpPr>
              <a:spLocks noChangeAspect="1" noChangeArrowheads="1"/>
            </p:cNvSpPr>
            <p:nvPr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8" name="Oval 651"/>
            <p:cNvSpPr>
              <a:spLocks noChangeAspect="1" noChangeArrowheads="1"/>
            </p:cNvSpPr>
            <p:nvPr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9" name="Oval 652"/>
            <p:cNvSpPr>
              <a:spLocks noChangeAspect="1" noChangeArrowheads="1"/>
            </p:cNvSpPr>
            <p:nvPr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0" name="Oval 653"/>
            <p:cNvSpPr>
              <a:spLocks noChangeAspect="1" noChangeArrowheads="1"/>
            </p:cNvSpPr>
            <p:nvPr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1" name="Oval 654"/>
            <p:cNvSpPr>
              <a:spLocks noChangeAspect="1" noChangeArrowheads="1"/>
            </p:cNvSpPr>
            <p:nvPr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2" name="Oval 655"/>
            <p:cNvSpPr>
              <a:spLocks noChangeAspect="1" noChangeArrowheads="1"/>
            </p:cNvSpPr>
            <p:nvPr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3" name="Oval 656"/>
            <p:cNvSpPr>
              <a:spLocks noChangeAspect="1" noChangeArrowheads="1"/>
            </p:cNvSpPr>
            <p:nvPr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4" name="Oval 657"/>
            <p:cNvSpPr>
              <a:spLocks noChangeAspect="1" noChangeArrowheads="1"/>
            </p:cNvSpPr>
            <p:nvPr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5" name="Oval 658"/>
            <p:cNvSpPr>
              <a:spLocks noChangeAspect="1" noChangeArrowheads="1"/>
            </p:cNvSpPr>
            <p:nvPr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6" name="Oval 659"/>
            <p:cNvSpPr>
              <a:spLocks noChangeAspect="1" noChangeArrowheads="1"/>
            </p:cNvSpPr>
            <p:nvPr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7" name="Oval 660"/>
            <p:cNvSpPr>
              <a:spLocks noChangeAspect="1" noChangeArrowheads="1"/>
            </p:cNvSpPr>
            <p:nvPr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8" name="Oval 661"/>
            <p:cNvSpPr>
              <a:spLocks noChangeAspect="1" noChangeArrowheads="1"/>
            </p:cNvSpPr>
            <p:nvPr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9" name="Oval 662"/>
            <p:cNvSpPr>
              <a:spLocks noChangeAspect="1" noChangeArrowheads="1"/>
            </p:cNvSpPr>
            <p:nvPr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0" name="Oval 663"/>
            <p:cNvSpPr>
              <a:spLocks noChangeAspect="1" noChangeArrowheads="1"/>
            </p:cNvSpPr>
            <p:nvPr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1" name="Oval 664"/>
            <p:cNvSpPr>
              <a:spLocks noChangeAspect="1" noChangeArrowheads="1"/>
            </p:cNvSpPr>
            <p:nvPr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2" name="Oval 665"/>
            <p:cNvSpPr>
              <a:spLocks noChangeAspect="1" noChangeArrowheads="1"/>
            </p:cNvSpPr>
            <p:nvPr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3" name="Oval 666"/>
            <p:cNvSpPr>
              <a:spLocks noChangeAspect="1" noChangeArrowheads="1"/>
            </p:cNvSpPr>
            <p:nvPr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4" name="Oval 667"/>
            <p:cNvSpPr>
              <a:spLocks noChangeAspect="1" noChangeArrowheads="1"/>
            </p:cNvSpPr>
            <p:nvPr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5" name="Oval 668"/>
            <p:cNvSpPr>
              <a:spLocks noChangeAspect="1" noChangeArrowheads="1"/>
            </p:cNvSpPr>
            <p:nvPr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6" name="Oval 669"/>
            <p:cNvSpPr>
              <a:spLocks noChangeAspect="1" noChangeArrowheads="1"/>
            </p:cNvSpPr>
            <p:nvPr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7" name="Oval 670"/>
            <p:cNvSpPr>
              <a:spLocks noChangeAspect="1" noChangeArrowheads="1"/>
            </p:cNvSpPr>
            <p:nvPr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8" name="Oval 671"/>
            <p:cNvSpPr>
              <a:spLocks noChangeAspect="1" noChangeArrowheads="1"/>
            </p:cNvSpPr>
            <p:nvPr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9" name="Oval 672"/>
            <p:cNvSpPr>
              <a:spLocks noChangeAspect="1" noChangeArrowheads="1"/>
            </p:cNvSpPr>
            <p:nvPr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0" name="Oval 673"/>
            <p:cNvSpPr>
              <a:spLocks noChangeAspect="1" noChangeArrowheads="1"/>
            </p:cNvSpPr>
            <p:nvPr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1" name="Oval 674"/>
            <p:cNvSpPr>
              <a:spLocks noChangeAspect="1" noChangeArrowheads="1"/>
            </p:cNvSpPr>
            <p:nvPr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2" name="Oval 675"/>
            <p:cNvSpPr>
              <a:spLocks noChangeAspect="1" noChangeArrowheads="1"/>
            </p:cNvSpPr>
            <p:nvPr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3" name="Oval 676"/>
            <p:cNvSpPr>
              <a:spLocks noChangeAspect="1" noChangeArrowheads="1"/>
            </p:cNvSpPr>
            <p:nvPr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4" name="Oval 677"/>
            <p:cNvSpPr>
              <a:spLocks noChangeAspect="1" noChangeArrowheads="1"/>
            </p:cNvSpPr>
            <p:nvPr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5" name="Oval 678"/>
            <p:cNvSpPr>
              <a:spLocks noChangeAspect="1" noChangeArrowheads="1"/>
            </p:cNvSpPr>
            <p:nvPr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6" name="Oval 679"/>
            <p:cNvSpPr>
              <a:spLocks noChangeAspect="1" noChangeArrowheads="1"/>
            </p:cNvSpPr>
            <p:nvPr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7" name="Oval 680"/>
            <p:cNvSpPr>
              <a:spLocks noChangeAspect="1" noChangeArrowheads="1"/>
            </p:cNvSpPr>
            <p:nvPr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8" name="Oval 681"/>
            <p:cNvSpPr>
              <a:spLocks noChangeAspect="1" noChangeArrowheads="1"/>
            </p:cNvSpPr>
            <p:nvPr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9" name="Oval 682"/>
            <p:cNvSpPr>
              <a:spLocks noChangeAspect="1" noChangeArrowheads="1"/>
            </p:cNvSpPr>
            <p:nvPr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0" name="Oval 683"/>
            <p:cNvSpPr>
              <a:spLocks noChangeAspect="1" noChangeArrowheads="1"/>
            </p:cNvSpPr>
            <p:nvPr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1" name="Oval 684"/>
            <p:cNvSpPr>
              <a:spLocks noChangeAspect="1" noChangeArrowheads="1"/>
            </p:cNvSpPr>
            <p:nvPr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2" name="Oval 685"/>
            <p:cNvSpPr>
              <a:spLocks noChangeAspect="1" noChangeArrowheads="1"/>
            </p:cNvSpPr>
            <p:nvPr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3" name="Oval 686"/>
            <p:cNvSpPr>
              <a:spLocks noChangeAspect="1" noChangeArrowheads="1"/>
            </p:cNvSpPr>
            <p:nvPr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4" name="Oval 687"/>
            <p:cNvSpPr>
              <a:spLocks noChangeAspect="1" noChangeArrowheads="1"/>
            </p:cNvSpPr>
            <p:nvPr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5" name="Oval 688"/>
            <p:cNvSpPr>
              <a:spLocks noChangeAspect="1" noChangeArrowheads="1"/>
            </p:cNvSpPr>
            <p:nvPr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6" name="Oval 689"/>
            <p:cNvSpPr>
              <a:spLocks noChangeAspect="1" noChangeArrowheads="1"/>
            </p:cNvSpPr>
            <p:nvPr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7" name="Oval 690"/>
            <p:cNvSpPr>
              <a:spLocks noChangeAspect="1" noChangeArrowheads="1"/>
            </p:cNvSpPr>
            <p:nvPr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8" name="Oval 691"/>
            <p:cNvSpPr>
              <a:spLocks noChangeAspect="1" noChangeArrowheads="1"/>
            </p:cNvSpPr>
            <p:nvPr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9" name="Oval 692"/>
            <p:cNvSpPr>
              <a:spLocks noChangeAspect="1" noChangeArrowheads="1"/>
            </p:cNvSpPr>
            <p:nvPr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0" name="Oval 693"/>
            <p:cNvSpPr>
              <a:spLocks noChangeAspect="1" noChangeArrowheads="1"/>
            </p:cNvSpPr>
            <p:nvPr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1" name="Oval 694"/>
            <p:cNvSpPr>
              <a:spLocks noChangeAspect="1" noChangeArrowheads="1"/>
            </p:cNvSpPr>
            <p:nvPr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2" name="Oval 695"/>
            <p:cNvSpPr>
              <a:spLocks noChangeAspect="1" noChangeArrowheads="1"/>
            </p:cNvSpPr>
            <p:nvPr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3" name="Oval 696"/>
            <p:cNvSpPr>
              <a:spLocks noChangeAspect="1" noChangeArrowheads="1"/>
            </p:cNvSpPr>
            <p:nvPr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4" name="Oval 697"/>
            <p:cNvSpPr>
              <a:spLocks noChangeAspect="1" noChangeArrowheads="1"/>
            </p:cNvSpPr>
            <p:nvPr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5" name="Oval 698"/>
            <p:cNvSpPr>
              <a:spLocks noChangeAspect="1" noChangeArrowheads="1"/>
            </p:cNvSpPr>
            <p:nvPr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6" name="Oval 699"/>
            <p:cNvSpPr>
              <a:spLocks noChangeAspect="1" noChangeArrowheads="1"/>
            </p:cNvSpPr>
            <p:nvPr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7" name="Oval 700"/>
            <p:cNvSpPr>
              <a:spLocks noChangeAspect="1" noChangeArrowheads="1"/>
            </p:cNvSpPr>
            <p:nvPr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8" name="Oval 701"/>
            <p:cNvSpPr>
              <a:spLocks noChangeAspect="1" noChangeArrowheads="1"/>
            </p:cNvSpPr>
            <p:nvPr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9" name="Oval 702"/>
            <p:cNvSpPr>
              <a:spLocks noChangeAspect="1" noChangeArrowheads="1"/>
            </p:cNvSpPr>
            <p:nvPr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0" name="Oval 703"/>
            <p:cNvSpPr>
              <a:spLocks noChangeAspect="1" noChangeArrowheads="1"/>
            </p:cNvSpPr>
            <p:nvPr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1" name="Oval 704"/>
            <p:cNvSpPr>
              <a:spLocks noChangeAspect="1" noChangeArrowheads="1"/>
            </p:cNvSpPr>
            <p:nvPr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2" name="Oval 705"/>
            <p:cNvSpPr>
              <a:spLocks noChangeAspect="1" noChangeArrowheads="1"/>
            </p:cNvSpPr>
            <p:nvPr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3" name="Oval 706"/>
            <p:cNvSpPr>
              <a:spLocks noChangeAspect="1" noChangeArrowheads="1"/>
            </p:cNvSpPr>
            <p:nvPr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4" name="Oval 707"/>
            <p:cNvSpPr>
              <a:spLocks noChangeAspect="1" noChangeArrowheads="1"/>
            </p:cNvSpPr>
            <p:nvPr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5" name="Oval 708"/>
            <p:cNvSpPr>
              <a:spLocks noChangeAspect="1" noChangeArrowheads="1"/>
            </p:cNvSpPr>
            <p:nvPr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6" name="Oval 709"/>
            <p:cNvSpPr>
              <a:spLocks noChangeAspect="1" noChangeArrowheads="1"/>
            </p:cNvSpPr>
            <p:nvPr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7" name="Oval 710"/>
            <p:cNvSpPr>
              <a:spLocks noChangeAspect="1" noChangeArrowheads="1"/>
            </p:cNvSpPr>
            <p:nvPr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8" name="Oval 711"/>
            <p:cNvSpPr>
              <a:spLocks noChangeAspect="1" noChangeArrowheads="1"/>
            </p:cNvSpPr>
            <p:nvPr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9" name="Oval 712"/>
            <p:cNvSpPr>
              <a:spLocks noChangeAspect="1" noChangeArrowheads="1"/>
            </p:cNvSpPr>
            <p:nvPr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0" name="Oval 713"/>
            <p:cNvSpPr>
              <a:spLocks noChangeAspect="1" noChangeArrowheads="1"/>
            </p:cNvSpPr>
            <p:nvPr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1" name="Oval 714"/>
            <p:cNvSpPr>
              <a:spLocks noChangeAspect="1" noChangeArrowheads="1"/>
            </p:cNvSpPr>
            <p:nvPr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2" name="Oval 715"/>
            <p:cNvSpPr>
              <a:spLocks noChangeAspect="1" noChangeArrowheads="1"/>
            </p:cNvSpPr>
            <p:nvPr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3" name="Oval 716"/>
            <p:cNvSpPr>
              <a:spLocks noChangeAspect="1" noChangeArrowheads="1"/>
            </p:cNvSpPr>
            <p:nvPr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4" name="Oval 717"/>
            <p:cNvSpPr>
              <a:spLocks noChangeAspect="1" noChangeArrowheads="1"/>
            </p:cNvSpPr>
            <p:nvPr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5" name="Oval 718"/>
            <p:cNvSpPr>
              <a:spLocks noChangeAspect="1" noChangeArrowheads="1"/>
            </p:cNvSpPr>
            <p:nvPr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6" name="Oval 719"/>
            <p:cNvSpPr>
              <a:spLocks noChangeAspect="1" noChangeArrowheads="1"/>
            </p:cNvSpPr>
            <p:nvPr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7" name="Oval 720"/>
            <p:cNvSpPr>
              <a:spLocks noChangeAspect="1" noChangeArrowheads="1"/>
            </p:cNvSpPr>
            <p:nvPr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8" name="Oval 721"/>
            <p:cNvSpPr>
              <a:spLocks noChangeAspect="1" noChangeArrowheads="1"/>
            </p:cNvSpPr>
            <p:nvPr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9" name="Oval 722"/>
            <p:cNvSpPr>
              <a:spLocks noChangeAspect="1" noChangeArrowheads="1"/>
            </p:cNvSpPr>
            <p:nvPr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0" name="Oval 723"/>
            <p:cNvSpPr>
              <a:spLocks noChangeAspect="1" noChangeArrowheads="1"/>
            </p:cNvSpPr>
            <p:nvPr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1" name="Oval 724"/>
            <p:cNvSpPr>
              <a:spLocks noChangeAspect="1" noChangeArrowheads="1"/>
            </p:cNvSpPr>
            <p:nvPr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2" name="Oval 725"/>
            <p:cNvSpPr>
              <a:spLocks noChangeAspect="1" noChangeArrowheads="1"/>
            </p:cNvSpPr>
            <p:nvPr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3" name="Oval 726"/>
            <p:cNvSpPr>
              <a:spLocks noChangeAspect="1" noChangeArrowheads="1"/>
            </p:cNvSpPr>
            <p:nvPr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4" name="Oval 727"/>
            <p:cNvSpPr>
              <a:spLocks noChangeAspect="1" noChangeArrowheads="1"/>
            </p:cNvSpPr>
            <p:nvPr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5" name="Oval 728"/>
            <p:cNvSpPr>
              <a:spLocks noChangeAspect="1" noChangeArrowheads="1"/>
            </p:cNvSpPr>
            <p:nvPr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6" name="Oval 729"/>
            <p:cNvSpPr>
              <a:spLocks noChangeAspect="1" noChangeArrowheads="1"/>
            </p:cNvSpPr>
            <p:nvPr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7" name="Oval 730"/>
            <p:cNvSpPr>
              <a:spLocks noChangeAspect="1" noChangeArrowheads="1"/>
            </p:cNvSpPr>
            <p:nvPr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8" name="Oval 731"/>
            <p:cNvSpPr>
              <a:spLocks noChangeAspect="1" noChangeArrowheads="1"/>
            </p:cNvSpPr>
            <p:nvPr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9" name="Oval 732"/>
            <p:cNvSpPr>
              <a:spLocks noChangeAspect="1" noChangeArrowheads="1"/>
            </p:cNvSpPr>
            <p:nvPr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0" name="Oval 733"/>
            <p:cNvSpPr>
              <a:spLocks noChangeAspect="1" noChangeArrowheads="1"/>
            </p:cNvSpPr>
            <p:nvPr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1" name="Oval 734"/>
            <p:cNvSpPr>
              <a:spLocks noChangeAspect="1" noChangeArrowheads="1"/>
            </p:cNvSpPr>
            <p:nvPr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2" name="Oval 735"/>
            <p:cNvSpPr>
              <a:spLocks noChangeAspect="1" noChangeArrowheads="1"/>
            </p:cNvSpPr>
            <p:nvPr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3" name="Oval 736"/>
            <p:cNvSpPr>
              <a:spLocks noChangeAspect="1" noChangeArrowheads="1"/>
            </p:cNvSpPr>
            <p:nvPr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4" name="Oval 737"/>
            <p:cNvSpPr>
              <a:spLocks noChangeAspect="1" noChangeArrowheads="1"/>
            </p:cNvSpPr>
            <p:nvPr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5" name="Oval 738"/>
            <p:cNvSpPr>
              <a:spLocks noChangeAspect="1" noChangeArrowheads="1"/>
            </p:cNvSpPr>
            <p:nvPr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6" name="Oval 739"/>
            <p:cNvSpPr>
              <a:spLocks noChangeAspect="1" noChangeArrowheads="1"/>
            </p:cNvSpPr>
            <p:nvPr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7" name="Oval 740"/>
            <p:cNvSpPr>
              <a:spLocks noChangeAspect="1" noChangeArrowheads="1"/>
            </p:cNvSpPr>
            <p:nvPr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8" name="Oval 741"/>
            <p:cNvSpPr>
              <a:spLocks noChangeAspect="1" noChangeArrowheads="1"/>
            </p:cNvSpPr>
            <p:nvPr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9" name="Oval 742"/>
            <p:cNvSpPr>
              <a:spLocks noChangeAspect="1" noChangeArrowheads="1"/>
            </p:cNvSpPr>
            <p:nvPr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0" name="Oval 743"/>
            <p:cNvSpPr>
              <a:spLocks noChangeAspect="1" noChangeArrowheads="1"/>
            </p:cNvSpPr>
            <p:nvPr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1" name="Oval 744"/>
            <p:cNvSpPr>
              <a:spLocks noChangeAspect="1" noChangeArrowheads="1"/>
            </p:cNvSpPr>
            <p:nvPr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2" name="Oval 745"/>
            <p:cNvSpPr>
              <a:spLocks noChangeAspect="1" noChangeArrowheads="1"/>
            </p:cNvSpPr>
            <p:nvPr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3" name="Oval 746"/>
            <p:cNvSpPr>
              <a:spLocks noChangeAspect="1" noChangeArrowheads="1"/>
            </p:cNvSpPr>
            <p:nvPr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4" name="Oval 747"/>
            <p:cNvSpPr>
              <a:spLocks noChangeAspect="1" noChangeArrowheads="1"/>
            </p:cNvSpPr>
            <p:nvPr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5" name="Oval 748"/>
            <p:cNvSpPr>
              <a:spLocks noChangeAspect="1" noChangeArrowheads="1"/>
            </p:cNvSpPr>
            <p:nvPr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6" name="Oval 749"/>
            <p:cNvSpPr>
              <a:spLocks noChangeAspect="1" noChangeArrowheads="1"/>
            </p:cNvSpPr>
            <p:nvPr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7" name="Oval 750"/>
            <p:cNvSpPr>
              <a:spLocks noChangeAspect="1" noChangeArrowheads="1"/>
            </p:cNvSpPr>
            <p:nvPr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8" name="Oval 751"/>
            <p:cNvSpPr>
              <a:spLocks noChangeAspect="1" noChangeArrowheads="1"/>
            </p:cNvSpPr>
            <p:nvPr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9" name="Oval 752"/>
            <p:cNvSpPr>
              <a:spLocks noChangeAspect="1" noChangeArrowheads="1"/>
            </p:cNvSpPr>
            <p:nvPr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0" name="Oval 753"/>
            <p:cNvSpPr>
              <a:spLocks noChangeAspect="1" noChangeArrowheads="1"/>
            </p:cNvSpPr>
            <p:nvPr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1" name="Oval 754"/>
            <p:cNvSpPr>
              <a:spLocks noChangeAspect="1" noChangeArrowheads="1"/>
            </p:cNvSpPr>
            <p:nvPr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2" name="Oval 755"/>
            <p:cNvSpPr>
              <a:spLocks noChangeAspect="1" noChangeArrowheads="1"/>
            </p:cNvSpPr>
            <p:nvPr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3" name="Oval 756"/>
            <p:cNvSpPr>
              <a:spLocks noChangeAspect="1" noChangeArrowheads="1"/>
            </p:cNvSpPr>
            <p:nvPr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4" name="Oval 757"/>
            <p:cNvSpPr>
              <a:spLocks noChangeAspect="1" noChangeArrowheads="1"/>
            </p:cNvSpPr>
            <p:nvPr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5" name="Oval 758"/>
            <p:cNvSpPr>
              <a:spLocks noChangeAspect="1" noChangeArrowheads="1"/>
            </p:cNvSpPr>
            <p:nvPr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6" name="Oval 759"/>
            <p:cNvSpPr>
              <a:spLocks noChangeAspect="1" noChangeArrowheads="1"/>
            </p:cNvSpPr>
            <p:nvPr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7" name="Oval 760"/>
            <p:cNvSpPr>
              <a:spLocks noChangeAspect="1" noChangeArrowheads="1"/>
            </p:cNvSpPr>
            <p:nvPr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8" name="Oval 761"/>
            <p:cNvSpPr>
              <a:spLocks noChangeAspect="1" noChangeArrowheads="1"/>
            </p:cNvSpPr>
            <p:nvPr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9" name="Oval 762"/>
            <p:cNvSpPr>
              <a:spLocks noChangeAspect="1" noChangeArrowheads="1"/>
            </p:cNvSpPr>
            <p:nvPr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0" name="Oval 763"/>
            <p:cNvSpPr>
              <a:spLocks noChangeAspect="1" noChangeArrowheads="1"/>
            </p:cNvSpPr>
            <p:nvPr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1" name="Oval 764"/>
            <p:cNvSpPr>
              <a:spLocks noChangeAspect="1" noChangeArrowheads="1"/>
            </p:cNvSpPr>
            <p:nvPr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2" name="Oval 765"/>
            <p:cNvSpPr>
              <a:spLocks noChangeAspect="1" noChangeArrowheads="1"/>
            </p:cNvSpPr>
            <p:nvPr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3" name="Oval 766"/>
            <p:cNvSpPr>
              <a:spLocks noChangeAspect="1" noChangeArrowheads="1"/>
            </p:cNvSpPr>
            <p:nvPr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4" name="Oval 767"/>
            <p:cNvSpPr>
              <a:spLocks noChangeAspect="1" noChangeArrowheads="1"/>
            </p:cNvSpPr>
            <p:nvPr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5" name="Oval 768"/>
            <p:cNvSpPr>
              <a:spLocks noChangeAspect="1" noChangeArrowheads="1"/>
            </p:cNvSpPr>
            <p:nvPr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6" name="Oval 769"/>
            <p:cNvSpPr>
              <a:spLocks noChangeAspect="1" noChangeArrowheads="1"/>
            </p:cNvSpPr>
            <p:nvPr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7" name="Oval 770"/>
            <p:cNvSpPr>
              <a:spLocks noChangeAspect="1" noChangeArrowheads="1"/>
            </p:cNvSpPr>
            <p:nvPr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8" name="Oval 771"/>
            <p:cNvSpPr>
              <a:spLocks noChangeAspect="1" noChangeArrowheads="1"/>
            </p:cNvSpPr>
            <p:nvPr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9" name="Oval 772"/>
            <p:cNvSpPr>
              <a:spLocks noChangeAspect="1" noChangeArrowheads="1"/>
            </p:cNvSpPr>
            <p:nvPr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0" name="Oval 773"/>
            <p:cNvSpPr>
              <a:spLocks noChangeAspect="1" noChangeArrowheads="1"/>
            </p:cNvSpPr>
            <p:nvPr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1" name="Oval 774"/>
            <p:cNvSpPr>
              <a:spLocks noChangeAspect="1" noChangeArrowheads="1"/>
            </p:cNvSpPr>
            <p:nvPr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2" name="Oval 775"/>
            <p:cNvSpPr>
              <a:spLocks noChangeAspect="1" noChangeArrowheads="1"/>
            </p:cNvSpPr>
            <p:nvPr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3" name="Oval 776"/>
            <p:cNvSpPr>
              <a:spLocks noChangeAspect="1" noChangeArrowheads="1"/>
            </p:cNvSpPr>
            <p:nvPr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4" name="Oval 777"/>
            <p:cNvSpPr>
              <a:spLocks noChangeAspect="1" noChangeArrowheads="1"/>
            </p:cNvSpPr>
            <p:nvPr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5" name="Oval 778"/>
            <p:cNvSpPr>
              <a:spLocks noChangeAspect="1" noChangeArrowheads="1"/>
            </p:cNvSpPr>
            <p:nvPr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6" name="Oval 779"/>
            <p:cNvSpPr>
              <a:spLocks noChangeAspect="1" noChangeArrowheads="1"/>
            </p:cNvSpPr>
            <p:nvPr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7" name="Oval 780"/>
            <p:cNvSpPr>
              <a:spLocks noChangeAspect="1" noChangeArrowheads="1"/>
            </p:cNvSpPr>
            <p:nvPr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8" name="Oval 781"/>
            <p:cNvSpPr>
              <a:spLocks noChangeAspect="1" noChangeArrowheads="1"/>
            </p:cNvSpPr>
            <p:nvPr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9" name="Oval 782"/>
            <p:cNvSpPr>
              <a:spLocks noChangeAspect="1" noChangeArrowheads="1"/>
            </p:cNvSpPr>
            <p:nvPr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0" name="Oval 783"/>
            <p:cNvSpPr>
              <a:spLocks noChangeAspect="1" noChangeArrowheads="1"/>
            </p:cNvSpPr>
            <p:nvPr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1" name="Oval 784"/>
            <p:cNvSpPr>
              <a:spLocks noChangeAspect="1" noChangeArrowheads="1"/>
            </p:cNvSpPr>
            <p:nvPr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2" name="Oval 785"/>
            <p:cNvSpPr>
              <a:spLocks noChangeAspect="1" noChangeArrowheads="1"/>
            </p:cNvSpPr>
            <p:nvPr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3" name="Oval 786"/>
            <p:cNvSpPr>
              <a:spLocks noChangeAspect="1" noChangeArrowheads="1"/>
            </p:cNvSpPr>
            <p:nvPr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4" name="Oval 787"/>
            <p:cNvSpPr>
              <a:spLocks noChangeAspect="1" noChangeArrowheads="1"/>
            </p:cNvSpPr>
            <p:nvPr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5" name="Oval 788"/>
            <p:cNvSpPr>
              <a:spLocks noChangeAspect="1" noChangeArrowheads="1"/>
            </p:cNvSpPr>
            <p:nvPr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6" name="Oval 789"/>
            <p:cNvSpPr>
              <a:spLocks noChangeAspect="1" noChangeArrowheads="1"/>
            </p:cNvSpPr>
            <p:nvPr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7" name="Oval 790"/>
            <p:cNvSpPr>
              <a:spLocks noChangeAspect="1" noChangeArrowheads="1"/>
            </p:cNvSpPr>
            <p:nvPr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8" name="Oval 791"/>
            <p:cNvSpPr>
              <a:spLocks noChangeAspect="1" noChangeArrowheads="1"/>
            </p:cNvSpPr>
            <p:nvPr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9" name="Oval 792"/>
            <p:cNvSpPr>
              <a:spLocks noChangeAspect="1" noChangeArrowheads="1"/>
            </p:cNvSpPr>
            <p:nvPr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0" name="Oval 793"/>
            <p:cNvSpPr>
              <a:spLocks noChangeAspect="1" noChangeArrowheads="1"/>
            </p:cNvSpPr>
            <p:nvPr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1" name="Oval 794"/>
            <p:cNvSpPr>
              <a:spLocks noChangeAspect="1" noChangeArrowheads="1"/>
            </p:cNvSpPr>
            <p:nvPr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2" name="Oval 795"/>
            <p:cNvSpPr>
              <a:spLocks noChangeAspect="1" noChangeArrowheads="1"/>
            </p:cNvSpPr>
            <p:nvPr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3" name="Oval 796"/>
            <p:cNvSpPr>
              <a:spLocks noChangeAspect="1" noChangeArrowheads="1"/>
            </p:cNvSpPr>
            <p:nvPr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4" name="Oval 797"/>
            <p:cNvSpPr>
              <a:spLocks noChangeAspect="1" noChangeArrowheads="1"/>
            </p:cNvSpPr>
            <p:nvPr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5" name="Oval 798"/>
            <p:cNvSpPr>
              <a:spLocks noChangeAspect="1" noChangeArrowheads="1"/>
            </p:cNvSpPr>
            <p:nvPr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6" name="Oval 799"/>
            <p:cNvSpPr>
              <a:spLocks noChangeAspect="1" noChangeArrowheads="1"/>
            </p:cNvSpPr>
            <p:nvPr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7" name="Oval 800"/>
            <p:cNvSpPr>
              <a:spLocks noChangeAspect="1" noChangeArrowheads="1"/>
            </p:cNvSpPr>
            <p:nvPr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8" name="Oval 801"/>
            <p:cNvSpPr>
              <a:spLocks noChangeAspect="1" noChangeArrowheads="1"/>
            </p:cNvSpPr>
            <p:nvPr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9" name="Oval 802"/>
            <p:cNvSpPr>
              <a:spLocks noChangeAspect="1" noChangeArrowheads="1"/>
            </p:cNvSpPr>
            <p:nvPr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0" name="Oval 803"/>
            <p:cNvSpPr>
              <a:spLocks noChangeAspect="1" noChangeArrowheads="1"/>
            </p:cNvSpPr>
            <p:nvPr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1" name="Oval 804"/>
            <p:cNvSpPr>
              <a:spLocks noChangeAspect="1" noChangeArrowheads="1"/>
            </p:cNvSpPr>
            <p:nvPr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2" name="Oval 805"/>
            <p:cNvSpPr>
              <a:spLocks noChangeAspect="1" noChangeArrowheads="1"/>
            </p:cNvSpPr>
            <p:nvPr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3" name="Oval 806"/>
            <p:cNvSpPr>
              <a:spLocks noChangeAspect="1" noChangeArrowheads="1"/>
            </p:cNvSpPr>
            <p:nvPr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4" name="Oval 807"/>
            <p:cNvSpPr>
              <a:spLocks noChangeAspect="1" noChangeArrowheads="1"/>
            </p:cNvSpPr>
            <p:nvPr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5" name="Oval 808"/>
            <p:cNvSpPr>
              <a:spLocks noChangeAspect="1" noChangeArrowheads="1"/>
            </p:cNvSpPr>
            <p:nvPr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6" name="Oval 809"/>
            <p:cNvSpPr>
              <a:spLocks noChangeAspect="1" noChangeArrowheads="1"/>
            </p:cNvSpPr>
            <p:nvPr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7" name="Oval 810"/>
            <p:cNvSpPr>
              <a:spLocks noChangeAspect="1" noChangeArrowheads="1"/>
            </p:cNvSpPr>
            <p:nvPr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8" name="Oval 811"/>
            <p:cNvSpPr>
              <a:spLocks noChangeAspect="1" noChangeArrowheads="1"/>
            </p:cNvSpPr>
            <p:nvPr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9" name="Oval 812"/>
            <p:cNvSpPr>
              <a:spLocks noChangeAspect="1" noChangeArrowheads="1"/>
            </p:cNvSpPr>
            <p:nvPr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0" name="Oval 813"/>
            <p:cNvSpPr>
              <a:spLocks noChangeAspect="1" noChangeArrowheads="1"/>
            </p:cNvSpPr>
            <p:nvPr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1" name="Oval 814"/>
            <p:cNvSpPr>
              <a:spLocks noChangeAspect="1" noChangeArrowheads="1"/>
            </p:cNvSpPr>
            <p:nvPr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2" name="Oval 815"/>
            <p:cNvSpPr>
              <a:spLocks noChangeAspect="1" noChangeArrowheads="1"/>
            </p:cNvSpPr>
            <p:nvPr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3" name="Oval 816"/>
            <p:cNvSpPr>
              <a:spLocks noChangeAspect="1" noChangeArrowheads="1"/>
            </p:cNvSpPr>
            <p:nvPr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4" name="Oval 817"/>
            <p:cNvSpPr>
              <a:spLocks noChangeAspect="1" noChangeArrowheads="1"/>
            </p:cNvSpPr>
            <p:nvPr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5" name="Oval 818"/>
            <p:cNvSpPr>
              <a:spLocks noChangeAspect="1" noChangeArrowheads="1"/>
            </p:cNvSpPr>
            <p:nvPr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6" name="Oval 819"/>
            <p:cNvSpPr>
              <a:spLocks noChangeAspect="1" noChangeArrowheads="1"/>
            </p:cNvSpPr>
            <p:nvPr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7" name="Oval 820"/>
            <p:cNvSpPr>
              <a:spLocks noChangeAspect="1" noChangeArrowheads="1"/>
            </p:cNvSpPr>
            <p:nvPr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8" name="Oval 821"/>
            <p:cNvSpPr>
              <a:spLocks noChangeAspect="1" noChangeArrowheads="1"/>
            </p:cNvSpPr>
            <p:nvPr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9" name="Oval 822"/>
            <p:cNvSpPr>
              <a:spLocks noChangeAspect="1" noChangeArrowheads="1"/>
            </p:cNvSpPr>
            <p:nvPr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0" name="Oval 823"/>
            <p:cNvSpPr>
              <a:spLocks noChangeAspect="1" noChangeArrowheads="1"/>
            </p:cNvSpPr>
            <p:nvPr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1" name="Oval 824"/>
            <p:cNvSpPr>
              <a:spLocks noChangeAspect="1" noChangeArrowheads="1"/>
            </p:cNvSpPr>
            <p:nvPr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2" name="Oval 825"/>
            <p:cNvSpPr>
              <a:spLocks noChangeAspect="1" noChangeArrowheads="1"/>
            </p:cNvSpPr>
            <p:nvPr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3" name="Oval 826"/>
            <p:cNvSpPr>
              <a:spLocks noChangeAspect="1" noChangeArrowheads="1"/>
            </p:cNvSpPr>
            <p:nvPr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4" name="Oval 827"/>
            <p:cNvSpPr>
              <a:spLocks noChangeAspect="1" noChangeArrowheads="1"/>
            </p:cNvSpPr>
            <p:nvPr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5" name="Oval 828"/>
            <p:cNvSpPr>
              <a:spLocks noChangeAspect="1" noChangeArrowheads="1"/>
            </p:cNvSpPr>
            <p:nvPr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6" name="Oval 829"/>
            <p:cNvSpPr>
              <a:spLocks noChangeAspect="1" noChangeArrowheads="1"/>
            </p:cNvSpPr>
            <p:nvPr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7" name="Oval 830"/>
            <p:cNvSpPr>
              <a:spLocks noChangeAspect="1" noChangeArrowheads="1"/>
            </p:cNvSpPr>
            <p:nvPr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8" name="Oval 831"/>
            <p:cNvSpPr>
              <a:spLocks noChangeAspect="1" noChangeArrowheads="1"/>
            </p:cNvSpPr>
            <p:nvPr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9" name="Oval 832"/>
            <p:cNvSpPr>
              <a:spLocks noChangeAspect="1" noChangeArrowheads="1"/>
            </p:cNvSpPr>
            <p:nvPr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0" name="Oval 833"/>
            <p:cNvSpPr>
              <a:spLocks noChangeAspect="1" noChangeArrowheads="1"/>
            </p:cNvSpPr>
            <p:nvPr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1" name="Oval 834"/>
            <p:cNvSpPr>
              <a:spLocks noChangeAspect="1" noChangeArrowheads="1"/>
            </p:cNvSpPr>
            <p:nvPr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2" name="Oval 835"/>
            <p:cNvSpPr>
              <a:spLocks noChangeAspect="1" noChangeArrowheads="1"/>
            </p:cNvSpPr>
            <p:nvPr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3" name="Oval 836"/>
            <p:cNvSpPr>
              <a:spLocks noChangeAspect="1" noChangeArrowheads="1"/>
            </p:cNvSpPr>
            <p:nvPr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4" name="Oval 837"/>
            <p:cNvSpPr>
              <a:spLocks noChangeAspect="1" noChangeArrowheads="1"/>
            </p:cNvSpPr>
            <p:nvPr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5" name="Oval 838"/>
            <p:cNvSpPr>
              <a:spLocks noChangeAspect="1" noChangeArrowheads="1"/>
            </p:cNvSpPr>
            <p:nvPr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6" name="Oval 839"/>
            <p:cNvSpPr>
              <a:spLocks noChangeAspect="1" noChangeArrowheads="1"/>
            </p:cNvSpPr>
            <p:nvPr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7" name="Oval 840"/>
            <p:cNvSpPr>
              <a:spLocks noChangeAspect="1" noChangeArrowheads="1"/>
            </p:cNvSpPr>
            <p:nvPr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8" name="Oval 841"/>
            <p:cNvSpPr>
              <a:spLocks noChangeAspect="1" noChangeArrowheads="1"/>
            </p:cNvSpPr>
            <p:nvPr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9" name="Oval 842"/>
            <p:cNvSpPr>
              <a:spLocks noChangeAspect="1" noChangeArrowheads="1"/>
            </p:cNvSpPr>
            <p:nvPr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0" name="Oval 843"/>
            <p:cNvSpPr>
              <a:spLocks noChangeAspect="1" noChangeArrowheads="1"/>
            </p:cNvSpPr>
            <p:nvPr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1" name="Oval 844"/>
            <p:cNvSpPr>
              <a:spLocks noChangeAspect="1" noChangeArrowheads="1"/>
            </p:cNvSpPr>
            <p:nvPr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2" name="Oval 845"/>
            <p:cNvSpPr>
              <a:spLocks noChangeAspect="1" noChangeArrowheads="1"/>
            </p:cNvSpPr>
            <p:nvPr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3" name="Oval 846"/>
            <p:cNvSpPr>
              <a:spLocks noChangeAspect="1" noChangeArrowheads="1"/>
            </p:cNvSpPr>
            <p:nvPr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4" name="Oval 847"/>
            <p:cNvSpPr>
              <a:spLocks noChangeAspect="1" noChangeArrowheads="1"/>
            </p:cNvSpPr>
            <p:nvPr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5" name="Oval 848"/>
            <p:cNvSpPr>
              <a:spLocks noChangeAspect="1" noChangeArrowheads="1"/>
            </p:cNvSpPr>
            <p:nvPr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6" name="Oval 849"/>
            <p:cNvSpPr>
              <a:spLocks noChangeAspect="1" noChangeArrowheads="1"/>
            </p:cNvSpPr>
            <p:nvPr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7" name="Oval 850"/>
            <p:cNvSpPr>
              <a:spLocks noChangeAspect="1" noChangeArrowheads="1"/>
            </p:cNvSpPr>
            <p:nvPr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8" name="Oval 851"/>
            <p:cNvSpPr>
              <a:spLocks noChangeAspect="1" noChangeArrowheads="1"/>
            </p:cNvSpPr>
            <p:nvPr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9" name="Oval 852"/>
            <p:cNvSpPr>
              <a:spLocks noChangeAspect="1" noChangeArrowheads="1"/>
            </p:cNvSpPr>
            <p:nvPr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0" name="Oval 853"/>
            <p:cNvSpPr>
              <a:spLocks noChangeAspect="1" noChangeArrowheads="1"/>
            </p:cNvSpPr>
            <p:nvPr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1" name="Oval 854"/>
            <p:cNvSpPr>
              <a:spLocks noChangeAspect="1" noChangeArrowheads="1"/>
            </p:cNvSpPr>
            <p:nvPr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2" name="Oval 855"/>
            <p:cNvSpPr>
              <a:spLocks noChangeAspect="1" noChangeArrowheads="1"/>
            </p:cNvSpPr>
            <p:nvPr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3" name="Oval 856"/>
            <p:cNvSpPr>
              <a:spLocks noChangeAspect="1" noChangeArrowheads="1"/>
            </p:cNvSpPr>
            <p:nvPr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4" name="Oval 857"/>
            <p:cNvSpPr>
              <a:spLocks noChangeAspect="1" noChangeArrowheads="1"/>
            </p:cNvSpPr>
            <p:nvPr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5" name="Oval 858"/>
            <p:cNvSpPr>
              <a:spLocks noChangeAspect="1" noChangeArrowheads="1"/>
            </p:cNvSpPr>
            <p:nvPr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6" name="Oval 859"/>
            <p:cNvSpPr>
              <a:spLocks noChangeAspect="1" noChangeArrowheads="1"/>
            </p:cNvSpPr>
            <p:nvPr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7" name="Oval 860"/>
            <p:cNvSpPr>
              <a:spLocks noChangeAspect="1" noChangeArrowheads="1"/>
            </p:cNvSpPr>
            <p:nvPr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8" name="Oval 861"/>
            <p:cNvSpPr>
              <a:spLocks noChangeAspect="1" noChangeArrowheads="1"/>
            </p:cNvSpPr>
            <p:nvPr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9" name="Oval 862"/>
            <p:cNvSpPr>
              <a:spLocks noChangeAspect="1" noChangeArrowheads="1"/>
            </p:cNvSpPr>
            <p:nvPr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0" name="Oval 863"/>
            <p:cNvSpPr>
              <a:spLocks noChangeAspect="1" noChangeArrowheads="1"/>
            </p:cNvSpPr>
            <p:nvPr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1" name="Oval 864"/>
            <p:cNvSpPr>
              <a:spLocks noChangeAspect="1" noChangeArrowheads="1"/>
            </p:cNvSpPr>
            <p:nvPr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2" name="Oval 865"/>
            <p:cNvSpPr>
              <a:spLocks noChangeAspect="1" noChangeArrowheads="1"/>
            </p:cNvSpPr>
            <p:nvPr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3" name="Oval 866"/>
            <p:cNvSpPr>
              <a:spLocks noChangeAspect="1" noChangeArrowheads="1"/>
            </p:cNvSpPr>
            <p:nvPr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4" name="Oval 867"/>
            <p:cNvSpPr>
              <a:spLocks noChangeAspect="1" noChangeArrowheads="1"/>
            </p:cNvSpPr>
            <p:nvPr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5" name="Oval 868"/>
            <p:cNvSpPr>
              <a:spLocks noChangeAspect="1" noChangeArrowheads="1"/>
            </p:cNvSpPr>
            <p:nvPr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6" name="Oval 869"/>
            <p:cNvSpPr>
              <a:spLocks noChangeAspect="1" noChangeArrowheads="1"/>
            </p:cNvSpPr>
            <p:nvPr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7" name="Oval 870"/>
            <p:cNvSpPr>
              <a:spLocks noChangeAspect="1" noChangeArrowheads="1"/>
            </p:cNvSpPr>
            <p:nvPr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8" name="Oval 871"/>
            <p:cNvSpPr>
              <a:spLocks noChangeAspect="1" noChangeArrowheads="1"/>
            </p:cNvSpPr>
            <p:nvPr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9" name="Oval 872"/>
            <p:cNvSpPr>
              <a:spLocks noChangeAspect="1" noChangeArrowheads="1"/>
            </p:cNvSpPr>
            <p:nvPr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0" name="Oval 873"/>
            <p:cNvSpPr>
              <a:spLocks noChangeAspect="1" noChangeArrowheads="1"/>
            </p:cNvSpPr>
            <p:nvPr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1" name="Oval 874"/>
            <p:cNvSpPr>
              <a:spLocks noChangeAspect="1" noChangeArrowheads="1"/>
            </p:cNvSpPr>
            <p:nvPr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2" name="Oval 875"/>
            <p:cNvSpPr>
              <a:spLocks noChangeAspect="1" noChangeArrowheads="1"/>
            </p:cNvSpPr>
            <p:nvPr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3" name="Oval 876"/>
            <p:cNvSpPr>
              <a:spLocks noChangeAspect="1" noChangeArrowheads="1"/>
            </p:cNvSpPr>
            <p:nvPr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4" name="Oval 877"/>
            <p:cNvSpPr>
              <a:spLocks noChangeAspect="1" noChangeArrowheads="1"/>
            </p:cNvSpPr>
            <p:nvPr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5" name="Oval 878"/>
            <p:cNvSpPr>
              <a:spLocks noChangeAspect="1" noChangeArrowheads="1"/>
            </p:cNvSpPr>
            <p:nvPr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6" name="Oval 879"/>
            <p:cNvSpPr>
              <a:spLocks noChangeAspect="1" noChangeArrowheads="1"/>
            </p:cNvSpPr>
            <p:nvPr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7" name="Oval 880"/>
            <p:cNvSpPr>
              <a:spLocks noChangeAspect="1" noChangeArrowheads="1"/>
            </p:cNvSpPr>
            <p:nvPr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8" name="Oval 881"/>
            <p:cNvSpPr>
              <a:spLocks noChangeAspect="1" noChangeArrowheads="1"/>
            </p:cNvSpPr>
            <p:nvPr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9" name="Oval 882"/>
            <p:cNvSpPr>
              <a:spLocks noChangeAspect="1" noChangeArrowheads="1"/>
            </p:cNvSpPr>
            <p:nvPr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0" name="Oval 883"/>
            <p:cNvSpPr>
              <a:spLocks noChangeAspect="1" noChangeArrowheads="1"/>
            </p:cNvSpPr>
            <p:nvPr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1" name="Oval 884"/>
            <p:cNvSpPr>
              <a:spLocks noChangeAspect="1" noChangeArrowheads="1"/>
            </p:cNvSpPr>
            <p:nvPr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2" name="Oval 885"/>
            <p:cNvSpPr>
              <a:spLocks noChangeAspect="1" noChangeArrowheads="1"/>
            </p:cNvSpPr>
            <p:nvPr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3" name="Oval 886"/>
            <p:cNvSpPr>
              <a:spLocks noChangeAspect="1" noChangeArrowheads="1"/>
            </p:cNvSpPr>
            <p:nvPr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4" name="Oval 887"/>
            <p:cNvSpPr>
              <a:spLocks noChangeAspect="1" noChangeArrowheads="1"/>
            </p:cNvSpPr>
            <p:nvPr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5" name="Oval 888"/>
            <p:cNvSpPr>
              <a:spLocks noChangeAspect="1" noChangeArrowheads="1"/>
            </p:cNvSpPr>
            <p:nvPr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6" name="Oval 889"/>
            <p:cNvSpPr>
              <a:spLocks noChangeAspect="1" noChangeArrowheads="1"/>
            </p:cNvSpPr>
            <p:nvPr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7" name="Oval 890"/>
            <p:cNvSpPr>
              <a:spLocks noChangeAspect="1" noChangeArrowheads="1"/>
            </p:cNvSpPr>
            <p:nvPr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8" name="Oval 891"/>
            <p:cNvSpPr>
              <a:spLocks noChangeAspect="1" noChangeArrowheads="1"/>
            </p:cNvSpPr>
            <p:nvPr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9" name="Oval 892"/>
            <p:cNvSpPr>
              <a:spLocks noChangeAspect="1" noChangeArrowheads="1"/>
            </p:cNvSpPr>
            <p:nvPr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0" name="Oval 893"/>
            <p:cNvSpPr>
              <a:spLocks noChangeAspect="1" noChangeArrowheads="1"/>
            </p:cNvSpPr>
            <p:nvPr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1" name="Oval 894"/>
            <p:cNvSpPr>
              <a:spLocks noChangeAspect="1" noChangeArrowheads="1"/>
            </p:cNvSpPr>
            <p:nvPr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2" name="Oval 895"/>
            <p:cNvSpPr>
              <a:spLocks noChangeAspect="1" noChangeArrowheads="1"/>
            </p:cNvSpPr>
            <p:nvPr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3" name="Oval 896"/>
            <p:cNvSpPr>
              <a:spLocks noChangeAspect="1" noChangeArrowheads="1"/>
            </p:cNvSpPr>
            <p:nvPr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4" name="Oval 897"/>
            <p:cNvSpPr>
              <a:spLocks noChangeAspect="1" noChangeArrowheads="1"/>
            </p:cNvSpPr>
            <p:nvPr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5" name="Oval 898"/>
            <p:cNvSpPr>
              <a:spLocks noChangeAspect="1" noChangeArrowheads="1"/>
            </p:cNvSpPr>
            <p:nvPr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6" name="Oval 899"/>
            <p:cNvSpPr>
              <a:spLocks noChangeAspect="1" noChangeArrowheads="1"/>
            </p:cNvSpPr>
            <p:nvPr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7" name="Oval 900"/>
            <p:cNvSpPr>
              <a:spLocks noChangeAspect="1" noChangeArrowheads="1"/>
            </p:cNvSpPr>
            <p:nvPr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8" name="Oval 901"/>
            <p:cNvSpPr>
              <a:spLocks noChangeAspect="1" noChangeArrowheads="1"/>
            </p:cNvSpPr>
            <p:nvPr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9" name="Oval 902"/>
            <p:cNvSpPr>
              <a:spLocks noChangeAspect="1" noChangeArrowheads="1"/>
            </p:cNvSpPr>
            <p:nvPr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0" name="Oval 903"/>
            <p:cNvSpPr>
              <a:spLocks noChangeAspect="1" noChangeArrowheads="1"/>
            </p:cNvSpPr>
            <p:nvPr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1" name="Oval 904"/>
            <p:cNvSpPr>
              <a:spLocks noChangeAspect="1" noChangeArrowheads="1"/>
            </p:cNvSpPr>
            <p:nvPr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2" name="Oval 905"/>
            <p:cNvSpPr>
              <a:spLocks noChangeAspect="1" noChangeArrowheads="1"/>
            </p:cNvSpPr>
            <p:nvPr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3" name="Oval 906"/>
            <p:cNvSpPr>
              <a:spLocks noChangeAspect="1" noChangeArrowheads="1"/>
            </p:cNvSpPr>
            <p:nvPr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4" name="Oval 907"/>
            <p:cNvSpPr>
              <a:spLocks noChangeAspect="1" noChangeArrowheads="1"/>
            </p:cNvSpPr>
            <p:nvPr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5" name="Oval 908"/>
            <p:cNvSpPr>
              <a:spLocks noChangeAspect="1" noChangeArrowheads="1"/>
            </p:cNvSpPr>
            <p:nvPr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6" name="Oval 909"/>
            <p:cNvSpPr>
              <a:spLocks noChangeAspect="1" noChangeArrowheads="1"/>
            </p:cNvSpPr>
            <p:nvPr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7" name="Oval 910"/>
            <p:cNvSpPr>
              <a:spLocks noChangeAspect="1" noChangeArrowheads="1"/>
            </p:cNvSpPr>
            <p:nvPr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8" name="Oval 911"/>
            <p:cNvSpPr>
              <a:spLocks noChangeAspect="1" noChangeArrowheads="1"/>
            </p:cNvSpPr>
            <p:nvPr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9" name="Oval 912"/>
            <p:cNvSpPr>
              <a:spLocks noChangeAspect="1" noChangeArrowheads="1"/>
            </p:cNvSpPr>
            <p:nvPr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0" name="Oval 913"/>
            <p:cNvSpPr>
              <a:spLocks noChangeAspect="1" noChangeArrowheads="1"/>
            </p:cNvSpPr>
            <p:nvPr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1" name="Oval 914"/>
            <p:cNvSpPr>
              <a:spLocks noChangeAspect="1" noChangeArrowheads="1"/>
            </p:cNvSpPr>
            <p:nvPr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2" name="Oval 915"/>
            <p:cNvSpPr>
              <a:spLocks noChangeAspect="1" noChangeArrowheads="1"/>
            </p:cNvSpPr>
            <p:nvPr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3" name="Oval 916"/>
            <p:cNvSpPr>
              <a:spLocks noChangeAspect="1" noChangeArrowheads="1"/>
            </p:cNvSpPr>
            <p:nvPr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4" name="Oval 917"/>
            <p:cNvSpPr>
              <a:spLocks noChangeAspect="1" noChangeArrowheads="1"/>
            </p:cNvSpPr>
            <p:nvPr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5" name="Oval 918"/>
            <p:cNvSpPr>
              <a:spLocks noChangeAspect="1" noChangeArrowheads="1"/>
            </p:cNvSpPr>
            <p:nvPr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6" name="Oval 919"/>
            <p:cNvSpPr>
              <a:spLocks noChangeAspect="1" noChangeArrowheads="1"/>
            </p:cNvSpPr>
            <p:nvPr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7" name="Oval 920"/>
            <p:cNvSpPr>
              <a:spLocks noChangeAspect="1" noChangeArrowheads="1"/>
            </p:cNvSpPr>
            <p:nvPr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8" name="Oval 921"/>
            <p:cNvSpPr>
              <a:spLocks noChangeAspect="1" noChangeArrowheads="1"/>
            </p:cNvSpPr>
            <p:nvPr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9" name="Oval 922"/>
            <p:cNvSpPr>
              <a:spLocks noChangeAspect="1" noChangeArrowheads="1"/>
            </p:cNvSpPr>
            <p:nvPr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0" name="Oval 923"/>
            <p:cNvSpPr>
              <a:spLocks noChangeAspect="1" noChangeArrowheads="1"/>
            </p:cNvSpPr>
            <p:nvPr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1" name="Oval 924"/>
            <p:cNvSpPr>
              <a:spLocks noChangeAspect="1" noChangeArrowheads="1"/>
            </p:cNvSpPr>
            <p:nvPr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2" name="Oval 925"/>
            <p:cNvSpPr>
              <a:spLocks noChangeAspect="1" noChangeArrowheads="1"/>
            </p:cNvSpPr>
            <p:nvPr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3" name="Oval 926"/>
            <p:cNvSpPr>
              <a:spLocks noChangeAspect="1" noChangeArrowheads="1"/>
            </p:cNvSpPr>
            <p:nvPr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4" name="Oval 927"/>
            <p:cNvSpPr>
              <a:spLocks noChangeAspect="1" noChangeArrowheads="1"/>
            </p:cNvSpPr>
            <p:nvPr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5" name="Oval 928"/>
            <p:cNvSpPr>
              <a:spLocks noChangeAspect="1" noChangeArrowheads="1"/>
            </p:cNvSpPr>
            <p:nvPr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6" name="Oval 929"/>
            <p:cNvSpPr>
              <a:spLocks noChangeAspect="1" noChangeArrowheads="1"/>
            </p:cNvSpPr>
            <p:nvPr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7" name="Oval 930"/>
            <p:cNvSpPr>
              <a:spLocks noChangeAspect="1" noChangeArrowheads="1"/>
            </p:cNvSpPr>
            <p:nvPr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8" name="Oval 931"/>
            <p:cNvSpPr>
              <a:spLocks noChangeAspect="1" noChangeArrowheads="1"/>
            </p:cNvSpPr>
            <p:nvPr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9" name="Oval 932"/>
            <p:cNvSpPr>
              <a:spLocks noChangeAspect="1" noChangeArrowheads="1"/>
            </p:cNvSpPr>
            <p:nvPr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0" name="Oval 933"/>
            <p:cNvSpPr>
              <a:spLocks noChangeAspect="1" noChangeArrowheads="1"/>
            </p:cNvSpPr>
            <p:nvPr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1" name="Oval 934"/>
            <p:cNvSpPr>
              <a:spLocks noChangeAspect="1" noChangeArrowheads="1"/>
            </p:cNvSpPr>
            <p:nvPr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2" name="Oval 935"/>
            <p:cNvSpPr>
              <a:spLocks noChangeAspect="1" noChangeArrowheads="1"/>
            </p:cNvSpPr>
            <p:nvPr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3" name="Oval 936"/>
            <p:cNvSpPr>
              <a:spLocks noChangeAspect="1" noChangeArrowheads="1"/>
            </p:cNvSpPr>
            <p:nvPr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4" name="Oval 937"/>
            <p:cNvSpPr>
              <a:spLocks noChangeAspect="1" noChangeArrowheads="1"/>
            </p:cNvSpPr>
            <p:nvPr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5" name="Oval 938"/>
            <p:cNvSpPr>
              <a:spLocks noChangeAspect="1" noChangeArrowheads="1"/>
            </p:cNvSpPr>
            <p:nvPr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6" name="Oval 939"/>
            <p:cNvSpPr>
              <a:spLocks noChangeAspect="1" noChangeArrowheads="1"/>
            </p:cNvSpPr>
            <p:nvPr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7" name="Oval 940"/>
            <p:cNvSpPr>
              <a:spLocks noChangeAspect="1" noChangeArrowheads="1"/>
            </p:cNvSpPr>
            <p:nvPr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8" name="Oval 941"/>
            <p:cNvSpPr>
              <a:spLocks noChangeAspect="1" noChangeArrowheads="1"/>
            </p:cNvSpPr>
            <p:nvPr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9" name="Oval 942"/>
            <p:cNvSpPr>
              <a:spLocks noChangeAspect="1" noChangeArrowheads="1"/>
            </p:cNvSpPr>
            <p:nvPr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0" name="Oval 943"/>
            <p:cNvSpPr>
              <a:spLocks noChangeAspect="1" noChangeArrowheads="1"/>
            </p:cNvSpPr>
            <p:nvPr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1" name="Oval 944"/>
            <p:cNvSpPr>
              <a:spLocks noChangeAspect="1" noChangeArrowheads="1"/>
            </p:cNvSpPr>
            <p:nvPr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2" name="Oval 945"/>
            <p:cNvSpPr>
              <a:spLocks noChangeAspect="1" noChangeArrowheads="1"/>
            </p:cNvSpPr>
            <p:nvPr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3" name="Oval 946"/>
            <p:cNvSpPr>
              <a:spLocks noChangeAspect="1" noChangeArrowheads="1"/>
            </p:cNvSpPr>
            <p:nvPr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4" name="Oval 947"/>
            <p:cNvSpPr>
              <a:spLocks noChangeAspect="1" noChangeArrowheads="1"/>
            </p:cNvSpPr>
            <p:nvPr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5" name="Oval 948"/>
            <p:cNvSpPr>
              <a:spLocks noChangeAspect="1" noChangeArrowheads="1"/>
            </p:cNvSpPr>
            <p:nvPr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6" name="Oval 949"/>
            <p:cNvSpPr>
              <a:spLocks noChangeAspect="1" noChangeArrowheads="1"/>
            </p:cNvSpPr>
            <p:nvPr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7" name="Oval 950"/>
            <p:cNvSpPr>
              <a:spLocks noChangeAspect="1" noChangeArrowheads="1"/>
            </p:cNvSpPr>
            <p:nvPr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8" name="Oval 951"/>
            <p:cNvSpPr>
              <a:spLocks noChangeAspect="1" noChangeArrowheads="1"/>
            </p:cNvSpPr>
            <p:nvPr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9" name="Oval 952"/>
            <p:cNvSpPr>
              <a:spLocks noChangeAspect="1" noChangeArrowheads="1"/>
            </p:cNvSpPr>
            <p:nvPr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0" name="Oval 953"/>
            <p:cNvSpPr>
              <a:spLocks noChangeAspect="1" noChangeArrowheads="1"/>
            </p:cNvSpPr>
            <p:nvPr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1" name="Oval 954"/>
            <p:cNvSpPr>
              <a:spLocks noChangeAspect="1" noChangeArrowheads="1"/>
            </p:cNvSpPr>
            <p:nvPr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2" name="Oval 955"/>
            <p:cNvSpPr>
              <a:spLocks noChangeAspect="1" noChangeArrowheads="1"/>
            </p:cNvSpPr>
            <p:nvPr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3" name="Oval 956"/>
            <p:cNvSpPr>
              <a:spLocks noChangeAspect="1" noChangeArrowheads="1"/>
            </p:cNvSpPr>
            <p:nvPr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4" name="Oval 957"/>
            <p:cNvSpPr>
              <a:spLocks noChangeAspect="1" noChangeArrowheads="1"/>
            </p:cNvSpPr>
            <p:nvPr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5" name="Oval 958"/>
            <p:cNvSpPr>
              <a:spLocks noChangeAspect="1" noChangeArrowheads="1"/>
            </p:cNvSpPr>
            <p:nvPr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6" name="Oval 959"/>
            <p:cNvSpPr>
              <a:spLocks noChangeAspect="1" noChangeArrowheads="1"/>
            </p:cNvSpPr>
            <p:nvPr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7" name="Oval 960"/>
            <p:cNvSpPr>
              <a:spLocks noChangeAspect="1" noChangeArrowheads="1"/>
            </p:cNvSpPr>
            <p:nvPr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8" name="Oval 961"/>
            <p:cNvSpPr>
              <a:spLocks noChangeAspect="1" noChangeArrowheads="1"/>
            </p:cNvSpPr>
            <p:nvPr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9" name="Oval 962"/>
            <p:cNvSpPr>
              <a:spLocks noChangeAspect="1" noChangeArrowheads="1"/>
            </p:cNvSpPr>
            <p:nvPr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0" name="Oval 963"/>
            <p:cNvSpPr>
              <a:spLocks noChangeAspect="1" noChangeArrowheads="1"/>
            </p:cNvSpPr>
            <p:nvPr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1" name="Oval 964"/>
            <p:cNvSpPr>
              <a:spLocks noChangeAspect="1" noChangeArrowheads="1"/>
            </p:cNvSpPr>
            <p:nvPr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2" name="Oval 965"/>
            <p:cNvSpPr>
              <a:spLocks noChangeAspect="1" noChangeArrowheads="1"/>
            </p:cNvSpPr>
            <p:nvPr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3" name="Oval 966"/>
            <p:cNvSpPr>
              <a:spLocks noChangeAspect="1" noChangeArrowheads="1"/>
            </p:cNvSpPr>
            <p:nvPr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4" name="Oval 967"/>
            <p:cNvSpPr>
              <a:spLocks noChangeAspect="1" noChangeArrowheads="1"/>
            </p:cNvSpPr>
            <p:nvPr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5" name="Oval 968"/>
            <p:cNvSpPr>
              <a:spLocks noChangeAspect="1" noChangeArrowheads="1"/>
            </p:cNvSpPr>
            <p:nvPr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6" name="Oval 969"/>
            <p:cNvSpPr>
              <a:spLocks noChangeAspect="1" noChangeArrowheads="1"/>
            </p:cNvSpPr>
            <p:nvPr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7" name="Oval 970"/>
            <p:cNvSpPr>
              <a:spLocks noChangeAspect="1" noChangeArrowheads="1"/>
            </p:cNvSpPr>
            <p:nvPr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8" name="Oval 971"/>
            <p:cNvSpPr>
              <a:spLocks noChangeAspect="1" noChangeArrowheads="1"/>
            </p:cNvSpPr>
            <p:nvPr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9" name="Oval 972"/>
            <p:cNvSpPr>
              <a:spLocks noChangeAspect="1" noChangeArrowheads="1"/>
            </p:cNvSpPr>
            <p:nvPr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0" name="Oval 973"/>
            <p:cNvSpPr>
              <a:spLocks noChangeAspect="1" noChangeArrowheads="1"/>
            </p:cNvSpPr>
            <p:nvPr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1" name="Oval 974"/>
            <p:cNvSpPr>
              <a:spLocks noChangeAspect="1" noChangeArrowheads="1"/>
            </p:cNvSpPr>
            <p:nvPr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2" name="Oval 975"/>
            <p:cNvSpPr>
              <a:spLocks noChangeAspect="1" noChangeArrowheads="1"/>
            </p:cNvSpPr>
            <p:nvPr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3" name="Oval 976"/>
            <p:cNvSpPr>
              <a:spLocks noChangeAspect="1" noChangeArrowheads="1"/>
            </p:cNvSpPr>
            <p:nvPr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4" name="Oval 977"/>
            <p:cNvSpPr>
              <a:spLocks noChangeAspect="1" noChangeArrowheads="1"/>
            </p:cNvSpPr>
            <p:nvPr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5" name="Oval 978"/>
            <p:cNvSpPr>
              <a:spLocks noChangeAspect="1" noChangeArrowheads="1"/>
            </p:cNvSpPr>
            <p:nvPr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6" name="Oval 979"/>
            <p:cNvSpPr>
              <a:spLocks noChangeAspect="1" noChangeArrowheads="1"/>
            </p:cNvSpPr>
            <p:nvPr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7" name="Oval 980"/>
            <p:cNvSpPr>
              <a:spLocks noChangeAspect="1" noChangeArrowheads="1"/>
            </p:cNvSpPr>
            <p:nvPr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8" name="Oval 981"/>
            <p:cNvSpPr>
              <a:spLocks noChangeAspect="1" noChangeArrowheads="1"/>
            </p:cNvSpPr>
            <p:nvPr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9" name="Oval 982"/>
            <p:cNvSpPr>
              <a:spLocks noChangeAspect="1" noChangeArrowheads="1"/>
            </p:cNvSpPr>
            <p:nvPr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0" name="Oval 983"/>
            <p:cNvSpPr>
              <a:spLocks noChangeAspect="1" noChangeArrowheads="1"/>
            </p:cNvSpPr>
            <p:nvPr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1" name="Oval 984"/>
            <p:cNvSpPr>
              <a:spLocks noChangeAspect="1" noChangeArrowheads="1"/>
            </p:cNvSpPr>
            <p:nvPr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2" name="Oval 985"/>
            <p:cNvSpPr>
              <a:spLocks noChangeAspect="1" noChangeArrowheads="1"/>
            </p:cNvSpPr>
            <p:nvPr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3" name="Oval 986"/>
            <p:cNvSpPr>
              <a:spLocks noChangeAspect="1" noChangeArrowheads="1"/>
            </p:cNvSpPr>
            <p:nvPr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4" name="Oval 987"/>
            <p:cNvSpPr>
              <a:spLocks noChangeAspect="1" noChangeArrowheads="1"/>
            </p:cNvSpPr>
            <p:nvPr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5" name="Oval 988"/>
            <p:cNvSpPr>
              <a:spLocks noChangeAspect="1" noChangeArrowheads="1"/>
            </p:cNvSpPr>
            <p:nvPr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6" name="Oval 989"/>
            <p:cNvSpPr>
              <a:spLocks noChangeAspect="1" noChangeArrowheads="1"/>
            </p:cNvSpPr>
            <p:nvPr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7" name="Oval 990"/>
            <p:cNvSpPr>
              <a:spLocks noChangeAspect="1" noChangeArrowheads="1"/>
            </p:cNvSpPr>
            <p:nvPr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8" name="Oval 991"/>
            <p:cNvSpPr>
              <a:spLocks noChangeAspect="1" noChangeArrowheads="1"/>
            </p:cNvSpPr>
            <p:nvPr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9" name="Oval 992"/>
            <p:cNvSpPr>
              <a:spLocks noChangeAspect="1" noChangeArrowheads="1"/>
            </p:cNvSpPr>
            <p:nvPr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0" name="Oval 993"/>
            <p:cNvSpPr>
              <a:spLocks noChangeAspect="1" noChangeArrowheads="1"/>
            </p:cNvSpPr>
            <p:nvPr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1" name="Oval 994"/>
            <p:cNvSpPr>
              <a:spLocks noChangeAspect="1" noChangeArrowheads="1"/>
            </p:cNvSpPr>
            <p:nvPr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2" name="Oval 995"/>
            <p:cNvSpPr>
              <a:spLocks noChangeAspect="1" noChangeArrowheads="1"/>
            </p:cNvSpPr>
            <p:nvPr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3" name="Oval 996"/>
            <p:cNvSpPr>
              <a:spLocks noChangeAspect="1" noChangeArrowheads="1"/>
            </p:cNvSpPr>
            <p:nvPr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4" name="Oval 997"/>
            <p:cNvSpPr>
              <a:spLocks noChangeAspect="1" noChangeArrowheads="1"/>
            </p:cNvSpPr>
            <p:nvPr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5" name="Oval 998"/>
            <p:cNvSpPr>
              <a:spLocks noChangeAspect="1" noChangeArrowheads="1"/>
            </p:cNvSpPr>
            <p:nvPr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6" name="Oval 999"/>
            <p:cNvSpPr>
              <a:spLocks noChangeAspect="1" noChangeArrowheads="1"/>
            </p:cNvSpPr>
            <p:nvPr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7" name="Oval 1000"/>
            <p:cNvSpPr>
              <a:spLocks noChangeAspect="1" noChangeArrowheads="1"/>
            </p:cNvSpPr>
            <p:nvPr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8" name="Oval 1001"/>
            <p:cNvSpPr>
              <a:spLocks noChangeAspect="1" noChangeArrowheads="1"/>
            </p:cNvSpPr>
            <p:nvPr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9" name="Oval 1002"/>
            <p:cNvSpPr>
              <a:spLocks noChangeAspect="1" noChangeArrowheads="1"/>
            </p:cNvSpPr>
            <p:nvPr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0" name="Oval 1003"/>
            <p:cNvSpPr>
              <a:spLocks noChangeAspect="1" noChangeArrowheads="1"/>
            </p:cNvSpPr>
            <p:nvPr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1" name="Oval 1004"/>
            <p:cNvSpPr>
              <a:spLocks noChangeAspect="1" noChangeArrowheads="1"/>
            </p:cNvSpPr>
            <p:nvPr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2" name="Oval 1005"/>
            <p:cNvSpPr>
              <a:spLocks noChangeAspect="1" noChangeArrowheads="1"/>
            </p:cNvSpPr>
            <p:nvPr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3" name="Oval 1006"/>
            <p:cNvSpPr>
              <a:spLocks noChangeAspect="1" noChangeArrowheads="1"/>
            </p:cNvSpPr>
            <p:nvPr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4" name="Oval 1007"/>
            <p:cNvSpPr>
              <a:spLocks noChangeAspect="1" noChangeArrowheads="1"/>
            </p:cNvSpPr>
            <p:nvPr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5" name="Oval 1008"/>
            <p:cNvSpPr>
              <a:spLocks noChangeAspect="1" noChangeArrowheads="1"/>
            </p:cNvSpPr>
            <p:nvPr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6" name="Oval 1009"/>
            <p:cNvSpPr>
              <a:spLocks noChangeAspect="1" noChangeArrowheads="1"/>
            </p:cNvSpPr>
            <p:nvPr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7" name="Oval 1010"/>
            <p:cNvSpPr>
              <a:spLocks noChangeAspect="1" noChangeArrowheads="1"/>
            </p:cNvSpPr>
            <p:nvPr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8" name="Oval 1011"/>
            <p:cNvSpPr>
              <a:spLocks noChangeAspect="1" noChangeArrowheads="1"/>
            </p:cNvSpPr>
            <p:nvPr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9" name="Oval 1012"/>
            <p:cNvSpPr>
              <a:spLocks noChangeAspect="1" noChangeArrowheads="1"/>
            </p:cNvSpPr>
            <p:nvPr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0" name="Oval 1013"/>
            <p:cNvSpPr>
              <a:spLocks noChangeAspect="1" noChangeArrowheads="1"/>
            </p:cNvSpPr>
            <p:nvPr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1" name="Oval 1014"/>
            <p:cNvSpPr>
              <a:spLocks noChangeAspect="1" noChangeArrowheads="1"/>
            </p:cNvSpPr>
            <p:nvPr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2" name="Oval 1015"/>
            <p:cNvSpPr>
              <a:spLocks noChangeAspect="1" noChangeArrowheads="1"/>
            </p:cNvSpPr>
            <p:nvPr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3" name="Oval 1016"/>
            <p:cNvSpPr>
              <a:spLocks noChangeAspect="1" noChangeArrowheads="1"/>
            </p:cNvSpPr>
            <p:nvPr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4" name="Oval 1017"/>
            <p:cNvSpPr>
              <a:spLocks noChangeAspect="1" noChangeArrowheads="1"/>
            </p:cNvSpPr>
            <p:nvPr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5" name="Oval 1018"/>
            <p:cNvSpPr>
              <a:spLocks noChangeAspect="1" noChangeArrowheads="1"/>
            </p:cNvSpPr>
            <p:nvPr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6" name="Oval 1019"/>
            <p:cNvSpPr>
              <a:spLocks noChangeAspect="1" noChangeArrowheads="1"/>
            </p:cNvSpPr>
            <p:nvPr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7" name="Oval 1020"/>
            <p:cNvSpPr>
              <a:spLocks noChangeAspect="1" noChangeArrowheads="1"/>
            </p:cNvSpPr>
            <p:nvPr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8" name="Oval 1021"/>
            <p:cNvSpPr>
              <a:spLocks noChangeAspect="1" noChangeArrowheads="1"/>
            </p:cNvSpPr>
            <p:nvPr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9" name="Oval 1022"/>
            <p:cNvSpPr>
              <a:spLocks noChangeAspect="1" noChangeArrowheads="1"/>
            </p:cNvSpPr>
            <p:nvPr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0" name="Oval 1023"/>
            <p:cNvSpPr>
              <a:spLocks noChangeAspect="1" noChangeArrowheads="1"/>
            </p:cNvSpPr>
            <p:nvPr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1" name="Oval 1024"/>
            <p:cNvSpPr>
              <a:spLocks noChangeAspect="1" noChangeArrowheads="1"/>
            </p:cNvSpPr>
            <p:nvPr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2" name="Oval 1025"/>
            <p:cNvSpPr>
              <a:spLocks noChangeAspect="1" noChangeArrowheads="1"/>
            </p:cNvSpPr>
            <p:nvPr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3" name="Oval 1026"/>
            <p:cNvSpPr>
              <a:spLocks noChangeAspect="1" noChangeArrowheads="1"/>
            </p:cNvSpPr>
            <p:nvPr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4" name="Oval 1027"/>
            <p:cNvSpPr>
              <a:spLocks noChangeAspect="1" noChangeArrowheads="1"/>
            </p:cNvSpPr>
            <p:nvPr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5" name="Oval 1028"/>
            <p:cNvSpPr>
              <a:spLocks noChangeAspect="1" noChangeArrowheads="1"/>
            </p:cNvSpPr>
            <p:nvPr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6" name="Oval 1029"/>
            <p:cNvSpPr>
              <a:spLocks noChangeAspect="1" noChangeArrowheads="1"/>
            </p:cNvSpPr>
            <p:nvPr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7" name="Oval 1030"/>
            <p:cNvSpPr>
              <a:spLocks noChangeAspect="1" noChangeArrowheads="1"/>
            </p:cNvSpPr>
            <p:nvPr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8" name="Oval 1031"/>
            <p:cNvSpPr>
              <a:spLocks noChangeAspect="1" noChangeArrowheads="1"/>
            </p:cNvSpPr>
            <p:nvPr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9" name="Oval 1032"/>
            <p:cNvSpPr>
              <a:spLocks noChangeAspect="1" noChangeArrowheads="1"/>
            </p:cNvSpPr>
            <p:nvPr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0" name="Oval 1033"/>
            <p:cNvSpPr>
              <a:spLocks noChangeAspect="1" noChangeArrowheads="1"/>
            </p:cNvSpPr>
            <p:nvPr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1" name="Oval 1034"/>
            <p:cNvSpPr>
              <a:spLocks noChangeAspect="1" noChangeArrowheads="1"/>
            </p:cNvSpPr>
            <p:nvPr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2" name="Oval 1035"/>
            <p:cNvSpPr>
              <a:spLocks noChangeAspect="1" noChangeArrowheads="1"/>
            </p:cNvSpPr>
            <p:nvPr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3" name="Oval 1036"/>
            <p:cNvSpPr>
              <a:spLocks noChangeAspect="1" noChangeArrowheads="1"/>
            </p:cNvSpPr>
            <p:nvPr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4" name="Oval 1037"/>
            <p:cNvSpPr>
              <a:spLocks noChangeAspect="1" noChangeArrowheads="1"/>
            </p:cNvSpPr>
            <p:nvPr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5" name="Oval 1038"/>
            <p:cNvSpPr>
              <a:spLocks noChangeAspect="1" noChangeArrowheads="1"/>
            </p:cNvSpPr>
            <p:nvPr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6" name="Oval 1039"/>
            <p:cNvSpPr>
              <a:spLocks noChangeAspect="1" noChangeArrowheads="1"/>
            </p:cNvSpPr>
            <p:nvPr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7" name="Oval 1040"/>
            <p:cNvSpPr>
              <a:spLocks noChangeAspect="1" noChangeArrowheads="1"/>
            </p:cNvSpPr>
            <p:nvPr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8" name="Oval 1041"/>
            <p:cNvSpPr>
              <a:spLocks noChangeAspect="1" noChangeArrowheads="1"/>
            </p:cNvSpPr>
            <p:nvPr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9" name="Oval 1042"/>
            <p:cNvSpPr>
              <a:spLocks noChangeAspect="1" noChangeArrowheads="1"/>
            </p:cNvSpPr>
            <p:nvPr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0" name="Oval 1043"/>
            <p:cNvSpPr>
              <a:spLocks noChangeAspect="1" noChangeArrowheads="1"/>
            </p:cNvSpPr>
            <p:nvPr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1" name="Oval 1044"/>
            <p:cNvSpPr>
              <a:spLocks noChangeAspect="1" noChangeArrowheads="1"/>
            </p:cNvSpPr>
            <p:nvPr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2" name="Oval 1045"/>
            <p:cNvSpPr>
              <a:spLocks noChangeAspect="1" noChangeArrowheads="1"/>
            </p:cNvSpPr>
            <p:nvPr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3" name="Oval 1046"/>
            <p:cNvSpPr>
              <a:spLocks noChangeAspect="1" noChangeArrowheads="1"/>
            </p:cNvSpPr>
            <p:nvPr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4" name="Oval 1047"/>
            <p:cNvSpPr>
              <a:spLocks noChangeAspect="1" noChangeArrowheads="1"/>
            </p:cNvSpPr>
            <p:nvPr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5" name="Oval 1048"/>
            <p:cNvSpPr>
              <a:spLocks noChangeAspect="1" noChangeArrowheads="1"/>
            </p:cNvSpPr>
            <p:nvPr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6" name="Oval 1049"/>
            <p:cNvSpPr>
              <a:spLocks noChangeAspect="1" noChangeArrowheads="1"/>
            </p:cNvSpPr>
            <p:nvPr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7" name="Oval 1050"/>
            <p:cNvSpPr>
              <a:spLocks noChangeAspect="1" noChangeArrowheads="1"/>
            </p:cNvSpPr>
            <p:nvPr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8" name="Oval 1051"/>
            <p:cNvSpPr>
              <a:spLocks noChangeAspect="1" noChangeArrowheads="1"/>
            </p:cNvSpPr>
            <p:nvPr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9" name="Oval 1052"/>
            <p:cNvSpPr>
              <a:spLocks noChangeAspect="1" noChangeArrowheads="1"/>
            </p:cNvSpPr>
            <p:nvPr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0" name="Oval 1053"/>
            <p:cNvSpPr>
              <a:spLocks noChangeAspect="1" noChangeArrowheads="1"/>
            </p:cNvSpPr>
            <p:nvPr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1" name="Oval 1054"/>
            <p:cNvSpPr>
              <a:spLocks noChangeAspect="1" noChangeArrowheads="1"/>
            </p:cNvSpPr>
            <p:nvPr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2" name="Oval 1055"/>
            <p:cNvSpPr>
              <a:spLocks noChangeAspect="1" noChangeArrowheads="1"/>
            </p:cNvSpPr>
            <p:nvPr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3" name="Oval 1056"/>
            <p:cNvSpPr>
              <a:spLocks noChangeAspect="1" noChangeArrowheads="1"/>
            </p:cNvSpPr>
            <p:nvPr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4" name="Oval 1057"/>
            <p:cNvSpPr>
              <a:spLocks noChangeAspect="1" noChangeArrowheads="1"/>
            </p:cNvSpPr>
            <p:nvPr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5" name="Oval 1058"/>
            <p:cNvSpPr>
              <a:spLocks noChangeAspect="1" noChangeArrowheads="1"/>
            </p:cNvSpPr>
            <p:nvPr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6" name="Oval 1059"/>
            <p:cNvSpPr>
              <a:spLocks noChangeAspect="1" noChangeArrowheads="1"/>
            </p:cNvSpPr>
            <p:nvPr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7" name="Oval 1060"/>
            <p:cNvSpPr>
              <a:spLocks noChangeAspect="1" noChangeArrowheads="1"/>
            </p:cNvSpPr>
            <p:nvPr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8" name="Oval 1061"/>
            <p:cNvSpPr>
              <a:spLocks noChangeAspect="1" noChangeArrowheads="1"/>
            </p:cNvSpPr>
            <p:nvPr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9" name="Oval 1062"/>
            <p:cNvSpPr>
              <a:spLocks noChangeAspect="1" noChangeArrowheads="1"/>
            </p:cNvSpPr>
            <p:nvPr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0" name="Oval 1063"/>
            <p:cNvSpPr>
              <a:spLocks noChangeAspect="1" noChangeArrowheads="1"/>
            </p:cNvSpPr>
            <p:nvPr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1" name="Oval 1064"/>
            <p:cNvSpPr>
              <a:spLocks noChangeAspect="1" noChangeArrowheads="1"/>
            </p:cNvSpPr>
            <p:nvPr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2" name="Oval 1065"/>
            <p:cNvSpPr>
              <a:spLocks noChangeAspect="1" noChangeArrowheads="1"/>
            </p:cNvSpPr>
            <p:nvPr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3" name="Oval 1066"/>
            <p:cNvSpPr>
              <a:spLocks noChangeAspect="1" noChangeArrowheads="1"/>
            </p:cNvSpPr>
            <p:nvPr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4" name="Oval 1067"/>
            <p:cNvSpPr>
              <a:spLocks noChangeAspect="1" noChangeArrowheads="1"/>
            </p:cNvSpPr>
            <p:nvPr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5" name="Oval 1068"/>
            <p:cNvSpPr>
              <a:spLocks noChangeAspect="1" noChangeArrowheads="1"/>
            </p:cNvSpPr>
            <p:nvPr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6" name="Oval 1069"/>
            <p:cNvSpPr>
              <a:spLocks noChangeAspect="1" noChangeArrowheads="1"/>
            </p:cNvSpPr>
            <p:nvPr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7" name="Oval 1070"/>
            <p:cNvSpPr>
              <a:spLocks noChangeAspect="1" noChangeArrowheads="1"/>
            </p:cNvSpPr>
            <p:nvPr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8" name="Oval 1071"/>
            <p:cNvSpPr>
              <a:spLocks noChangeAspect="1" noChangeArrowheads="1"/>
            </p:cNvSpPr>
            <p:nvPr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9" name="Oval 1072"/>
            <p:cNvSpPr>
              <a:spLocks noChangeAspect="1" noChangeArrowheads="1"/>
            </p:cNvSpPr>
            <p:nvPr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0" name="Oval 1073"/>
            <p:cNvSpPr>
              <a:spLocks noChangeAspect="1" noChangeArrowheads="1"/>
            </p:cNvSpPr>
            <p:nvPr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1" name="Oval 1074"/>
            <p:cNvSpPr>
              <a:spLocks noChangeAspect="1" noChangeArrowheads="1"/>
            </p:cNvSpPr>
            <p:nvPr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2" name="Oval 1075"/>
            <p:cNvSpPr>
              <a:spLocks noChangeAspect="1" noChangeArrowheads="1"/>
            </p:cNvSpPr>
            <p:nvPr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3" name="Oval 1076"/>
            <p:cNvSpPr>
              <a:spLocks noChangeAspect="1" noChangeArrowheads="1"/>
            </p:cNvSpPr>
            <p:nvPr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4" name="Oval 1077"/>
            <p:cNvSpPr>
              <a:spLocks noChangeAspect="1" noChangeArrowheads="1"/>
            </p:cNvSpPr>
            <p:nvPr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5" name="Oval 1078"/>
            <p:cNvSpPr>
              <a:spLocks noChangeAspect="1" noChangeArrowheads="1"/>
            </p:cNvSpPr>
            <p:nvPr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6" name="Oval 1079"/>
            <p:cNvSpPr>
              <a:spLocks noChangeAspect="1" noChangeArrowheads="1"/>
            </p:cNvSpPr>
            <p:nvPr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7" name="Oval 1080"/>
            <p:cNvSpPr>
              <a:spLocks noChangeAspect="1" noChangeArrowheads="1"/>
            </p:cNvSpPr>
            <p:nvPr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8" name="Oval 1081"/>
            <p:cNvSpPr>
              <a:spLocks noChangeAspect="1" noChangeArrowheads="1"/>
            </p:cNvSpPr>
            <p:nvPr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9" name="Oval 1082"/>
            <p:cNvSpPr>
              <a:spLocks noChangeAspect="1" noChangeArrowheads="1"/>
            </p:cNvSpPr>
            <p:nvPr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0" name="Oval 1083"/>
            <p:cNvSpPr>
              <a:spLocks noChangeAspect="1" noChangeArrowheads="1"/>
            </p:cNvSpPr>
            <p:nvPr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1" name="Oval 1084"/>
            <p:cNvSpPr>
              <a:spLocks noChangeAspect="1" noChangeArrowheads="1"/>
            </p:cNvSpPr>
            <p:nvPr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2" name="Oval 1085"/>
            <p:cNvSpPr>
              <a:spLocks noChangeAspect="1" noChangeArrowheads="1"/>
            </p:cNvSpPr>
            <p:nvPr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3" name="Oval 1086"/>
            <p:cNvSpPr>
              <a:spLocks noChangeAspect="1" noChangeArrowheads="1"/>
            </p:cNvSpPr>
            <p:nvPr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4" name="Oval 1087"/>
            <p:cNvSpPr>
              <a:spLocks noChangeAspect="1" noChangeArrowheads="1"/>
            </p:cNvSpPr>
            <p:nvPr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5" name="Oval 1088"/>
            <p:cNvSpPr>
              <a:spLocks noChangeAspect="1" noChangeArrowheads="1"/>
            </p:cNvSpPr>
            <p:nvPr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6" name="Oval 1089"/>
            <p:cNvSpPr>
              <a:spLocks noChangeAspect="1" noChangeArrowheads="1"/>
            </p:cNvSpPr>
            <p:nvPr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7" name="Oval 1090"/>
            <p:cNvSpPr>
              <a:spLocks noChangeAspect="1" noChangeArrowheads="1"/>
            </p:cNvSpPr>
            <p:nvPr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8" name="Oval 1091"/>
            <p:cNvSpPr>
              <a:spLocks noChangeAspect="1" noChangeArrowheads="1"/>
            </p:cNvSpPr>
            <p:nvPr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9" name="Oval 1092"/>
            <p:cNvSpPr>
              <a:spLocks noChangeAspect="1" noChangeArrowheads="1"/>
            </p:cNvSpPr>
            <p:nvPr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0" name="Oval 1093"/>
            <p:cNvSpPr>
              <a:spLocks noChangeAspect="1" noChangeArrowheads="1"/>
            </p:cNvSpPr>
            <p:nvPr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1" name="Oval 1094"/>
            <p:cNvSpPr>
              <a:spLocks noChangeAspect="1" noChangeArrowheads="1"/>
            </p:cNvSpPr>
            <p:nvPr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2" name="Oval 1095"/>
            <p:cNvSpPr>
              <a:spLocks noChangeAspect="1" noChangeArrowheads="1"/>
            </p:cNvSpPr>
            <p:nvPr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3" name="Oval 1096"/>
            <p:cNvSpPr>
              <a:spLocks noChangeAspect="1" noChangeArrowheads="1"/>
            </p:cNvSpPr>
            <p:nvPr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4" name="Oval 1097"/>
            <p:cNvSpPr>
              <a:spLocks noChangeAspect="1" noChangeArrowheads="1"/>
            </p:cNvSpPr>
            <p:nvPr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5" name="Oval 1098"/>
            <p:cNvSpPr>
              <a:spLocks noChangeAspect="1" noChangeArrowheads="1"/>
            </p:cNvSpPr>
            <p:nvPr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6" name="Oval 1099"/>
            <p:cNvSpPr>
              <a:spLocks noChangeAspect="1" noChangeArrowheads="1"/>
            </p:cNvSpPr>
            <p:nvPr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7" name="Oval 1100"/>
            <p:cNvSpPr>
              <a:spLocks noChangeAspect="1" noChangeArrowheads="1"/>
            </p:cNvSpPr>
            <p:nvPr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8" name="Oval 1101"/>
            <p:cNvSpPr>
              <a:spLocks noChangeAspect="1" noChangeArrowheads="1"/>
            </p:cNvSpPr>
            <p:nvPr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9" name="Oval 1102"/>
            <p:cNvSpPr>
              <a:spLocks noChangeAspect="1" noChangeArrowheads="1"/>
            </p:cNvSpPr>
            <p:nvPr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0" name="Oval 1103"/>
            <p:cNvSpPr>
              <a:spLocks noChangeAspect="1" noChangeArrowheads="1"/>
            </p:cNvSpPr>
            <p:nvPr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1" name="Oval 1104"/>
            <p:cNvSpPr>
              <a:spLocks noChangeAspect="1" noChangeArrowheads="1"/>
            </p:cNvSpPr>
            <p:nvPr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2" name="Oval 1105"/>
            <p:cNvSpPr>
              <a:spLocks noChangeAspect="1" noChangeArrowheads="1"/>
            </p:cNvSpPr>
            <p:nvPr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3" name="Oval 1106"/>
            <p:cNvSpPr>
              <a:spLocks noChangeAspect="1" noChangeArrowheads="1"/>
            </p:cNvSpPr>
            <p:nvPr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4" name="Oval 1107"/>
            <p:cNvSpPr>
              <a:spLocks noChangeAspect="1" noChangeArrowheads="1"/>
            </p:cNvSpPr>
            <p:nvPr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5" name="Oval 1108"/>
            <p:cNvSpPr>
              <a:spLocks noChangeAspect="1" noChangeArrowheads="1"/>
            </p:cNvSpPr>
            <p:nvPr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6" name="Oval 1109"/>
            <p:cNvSpPr>
              <a:spLocks noChangeAspect="1" noChangeArrowheads="1"/>
            </p:cNvSpPr>
            <p:nvPr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7" name="Oval 1110"/>
            <p:cNvSpPr>
              <a:spLocks noChangeAspect="1" noChangeArrowheads="1"/>
            </p:cNvSpPr>
            <p:nvPr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8" name="Oval 1111"/>
            <p:cNvSpPr>
              <a:spLocks noChangeAspect="1" noChangeArrowheads="1"/>
            </p:cNvSpPr>
            <p:nvPr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9" name="Oval 1112"/>
            <p:cNvSpPr>
              <a:spLocks noChangeAspect="1" noChangeArrowheads="1"/>
            </p:cNvSpPr>
            <p:nvPr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0" name="Oval 1113"/>
            <p:cNvSpPr>
              <a:spLocks noChangeAspect="1" noChangeArrowheads="1"/>
            </p:cNvSpPr>
            <p:nvPr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1" name="Oval 1114"/>
            <p:cNvSpPr>
              <a:spLocks noChangeAspect="1" noChangeArrowheads="1"/>
            </p:cNvSpPr>
            <p:nvPr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2" name="Oval 1115"/>
            <p:cNvSpPr>
              <a:spLocks noChangeAspect="1" noChangeArrowheads="1"/>
            </p:cNvSpPr>
            <p:nvPr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3" name="Oval 1116"/>
            <p:cNvSpPr>
              <a:spLocks noChangeAspect="1" noChangeArrowheads="1"/>
            </p:cNvSpPr>
            <p:nvPr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4" name="Oval 1117"/>
            <p:cNvSpPr>
              <a:spLocks noChangeAspect="1" noChangeArrowheads="1"/>
            </p:cNvSpPr>
            <p:nvPr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5" name="Oval 1118"/>
            <p:cNvSpPr>
              <a:spLocks noChangeAspect="1" noChangeArrowheads="1"/>
            </p:cNvSpPr>
            <p:nvPr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6" name="Oval 1119"/>
            <p:cNvSpPr>
              <a:spLocks noChangeAspect="1" noChangeArrowheads="1"/>
            </p:cNvSpPr>
            <p:nvPr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7" name="Oval 1120"/>
            <p:cNvSpPr>
              <a:spLocks noChangeAspect="1" noChangeArrowheads="1"/>
            </p:cNvSpPr>
            <p:nvPr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8" name="Oval 1121"/>
            <p:cNvSpPr>
              <a:spLocks noChangeAspect="1" noChangeArrowheads="1"/>
            </p:cNvSpPr>
            <p:nvPr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9" name="Oval 1122"/>
            <p:cNvSpPr>
              <a:spLocks noChangeAspect="1" noChangeArrowheads="1"/>
            </p:cNvSpPr>
            <p:nvPr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0" name="Oval 1123"/>
            <p:cNvSpPr>
              <a:spLocks noChangeAspect="1" noChangeArrowheads="1"/>
            </p:cNvSpPr>
            <p:nvPr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1" name="Oval 1124"/>
            <p:cNvSpPr>
              <a:spLocks noChangeAspect="1" noChangeArrowheads="1"/>
            </p:cNvSpPr>
            <p:nvPr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2" name="Oval 1125"/>
            <p:cNvSpPr>
              <a:spLocks noChangeAspect="1" noChangeArrowheads="1"/>
            </p:cNvSpPr>
            <p:nvPr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3" name="Oval 1126"/>
            <p:cNvSpPr>
              <a:spLocks noChangeAspect="1" noChangeArrowheads="1"/>
            </p:cNvSpPr>
            <p:nvPr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4" name="Oval 1127"/>
            <p:cNvSpPr>
              <a:spLocks noChangeAspect="1" noChangeArrowheads="1"/>
            </p:cNvSpPr>
            <p:nvPr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5" name="Oval 1128"/>
            <p:cNvSpPr>
              <a:spLocks noChangeAspect="1" noChangeArrowheads="1"/>
            </p:cNvSpPr>
            <p:nvPr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6" name="Oval 1129"/>
            <p:cNvSpPr>
              <a:spLocks noChangeAspect="1" noChangeArrowheads="1"/>
            </p:cNvSpPr>
            <p:nvPr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7" name="Oval 1130"/>
            <p:cNvSpPr>
              <a:spLocks noChangeAspect="1" noChangeArrowheads="1"/>
            </p:cNvSpPr>
            <p:nvPr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8" name="Oval 1131"/>
            <p:cNvSpPr>
              <a:spLocks noChangeAspect="1" noChangeArrowheads="1"/>
            </p:cNvSpPr>
            <p:nvPr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9" name="Oval 1132"/>
            <p:cNvSpPr>
              <a:spLocks noChangeAspect="1" noChangeArrowheads="1"/>
            </p:cNvSpPr>
            <p:nvPr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0" name="Oval 1133"/>
            <p:cNvSpPr>
              <a:spLocks noChangeAspect="1" noChangeArrowheads="1"/>
            </p:cNvSpPr>
            <p:nvPr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1" name="Oval 1134"/>
            <p:cNvSpPr>
              <a:spLocks noChangeAspect="1" noChangeArrowheads="1"/>
            </p:cNvSpPr>
            <p:nvPr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2" name="Oval 1135"/>
            <p:cNvSpPr>
              <a:spLocks noChangeAspect="1" noChangeArrowheads="1"/>
            </p:cNvSpPr>
            <p:nvPr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3" name="Oval 1136"/>
            <p:cNvSpPr>
              <a:spLocks noChangeAspect="1" noChangeArrowheads="1"/>
            </p:cNvSpPr>
            <p:nvPr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4" name="Oval 1137"/>
            <p:cNvSpPr>
              <a:spLocks noChangeAspect="1" noChangeArrowheads="1"/>
            </p:cNvSpPr>
            <p:nvPr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5" name="Oval 1138"/>
            <p:cNvSpPr>
              <a:spLocks noChangeAspect="1" noChangeArrowheads="1"/>
            </p:cNvSpPr>
            <p:nvPr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6" name="Oval 1139"/>
            <p:cNvSpPr>
              <a:spLocks noChangeAspect="1" noChangeArrowheads="1"/>
            </p:cNvSpPr>
            <p:nvPr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7" name="Oval 1140"/>
            <p:cNvSpPr>
              <a:spLocks noChangeAspect="1" noChangeArrowheads="1"/>
            </p:cNvSpPr>
            <p:nvPr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8" name="Oval 1141"/>
            <p:cNvSpPr>
              <a:spLocks noChangeAspect="1" noChangeArrowheads="1"/>
            </p:cNvSpPr>
            <p:nvPr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9" name="Oval 1142"/>
            <p:cNvSpPr>
              <a:spLocks noChangeAspect="1" noChangeArrowheads="1"/>
            </p:cNvSpPr>
            <p:nvPr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0" name="Oval 1143"/>
            <p:cNvSpPr>
              <a:spLocks noChangeAspect="1" noChangeArrowheads="1"/>
            </p:cNvSpPr>
            <p:nvPr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1" name="Oval 1144"/>
            <p:cNvSpPr>
              <a:spLocks noChangeAspect="1" noChangeArrowheads="1"/>
            </p:cNvSpPr>
            <p:nvPr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2" name="Oval 1145"/>
            <p:cNvSpPr>
              <a:spLocks noChangeAspect="1" noChangeArrowheads="1"/>
            </p:cNvSpPr>
            <p:nvPr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3" name="Oval 1146"/>
            <p:cNvSpPr>
              <a:spLocks noChangeAspect="1" noChangeArrowheads="1"/>
            </p:cNvSpPr>
            <p:nvPr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4" name="Oval 1147"/>
            <p:cNvSpPr>
              <a:spLocks noChangeAspect="1" noChangeArrowheads="1"/>
            </p:cNvSpPr>
            <p:nvPr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5" name="Oval 1148"/>
            <p:cNvSpPr>
              <a:spLocks noChangeAspect="1" noChangeArrowheads="1"/>
            </p:cNvSpPr>
            <p:nvPr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6" name="Oval 1149"/>
            <p:cNvSpPr>
              <a:spLocks noChangeAspect="1" noChangeArrowheads="1"/>
            </p:cNvSpPr>
            <p:nvPr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7" name="Oval 1150"/>
            <p:cNvSpPr>
              <a:spLocks noChangeAspect="1" noChangeArrowheads="1"/>
            </p:cNvSpPr>
            <p:nvPr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8" name="Oval 1151"/>
            <p:cNvSpPr>
              <a:spLocks noChangeAspect="1" noChangeArrowheads="1"/>
            </p:cNvSpPr>
            <p:nvPr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9" name="Oval 1152"/>
            <p:cNvSpPr>
              <a:spLocks noChangeAspect="1" noChangeArrowheads="1"/>
            </p:cNvSpPr>
            <p:nvPr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0" name="Oval 1153"/>
            <p:cNvSpPr>
              <a:spLocks noChangeAspect="1" noChangeArrowheads="1"/>
            </p:cNvSpPr>
            <p:nvPr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1" name="Oval 1154"/>
            <p:cNvSpPr>
              <a:spLocks noChangeAspect="1" noChangeArrowheads="1"/>
            </p:cNvSpPr>
            <p:nvPr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2" name="Oval 1155"/>
            <p:cNvSpPr>
              <a:spLocks noChangeAspect="1" noChangeArrowheads="1"/>
            </p:cNvSpPr>
            <p:nvPr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3" name="Oval 1156"/>
            <p:cNvSpPr>
              <a:spLocks noChangeAspect="1" noChangeArrowheads="1"/>
            </p:cNvSpPr>
            <p:nvPr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4" name="Oval 1157"/>
            <p:cNvSpPr>
              <a:spLocks noChangeAspect="1" noChangeArrowheads="1"/>
            </p:cNvSpPr>
            <p:nvPr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5" name="Oval 1158"/>
            <p:cNvSpPr>
              <a:spLocks noChangeAspect="1" noChangeArrowheads="1"/>
            </p:cNvSpPr>
            <p:nvPr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6" name="Oval 1159"/>
            <p:cNvSpPr>
              <a:spLocks noChangeAspect="1" noChangeArrowheads="1"/>
            </p:cNvSpPr>
            <p:nvPr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7" name="Oval 1160"/>
            <p:cNvSpPr>
              <a:spLocks noChangeAspect="1" noChangeArrowheads="1"/>
            </p:cNvSpPr>
            <p:nvPr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8" name="Oval 1161"/>
            <p:cNvSpPr>
              <a:spLocks noChangeAspect="1" noChangeArrowheads="1"/>
            </p:cNvSpPr>
            <p:nvPr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9" name="Oval 1162"/>
            <p:cNvSpPr>
              <a:spLocks noChangeAspect="1" noChangeArrowheads="1"/>
            </p:cNvSpPr>
            <p:nvPr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0" name="Oval 1163"/>
            <p:cNvSpPr>
              <a:spLocks noChangeAspect="1" noChangeArrowheads="1"/>
            </p:cNvSpPr>
            <p:nvPr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1" name="Oval 1164"/>
            <p:cNvSpPr>
              <a:spLocks noChangeAspect="1" noChangeArrowheads="1"/>
            </p:cNvSpPr>
            <p:nvPr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2" name="Oval 1165"/>
            <p:cNvSpPr>
              <a:spLocks noChangeAspect="1" noChangeArrowheads="1"/>
            </p:cNvSpPr>
            <p:nvPr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3" name="Oval 1166"/>
            <p:cNvSpPr>
              <a:spLocks noChangeAspect="1" noChangeArrowheads="1"/>
            </p:cNvSpPr>
            <p:nvPr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4" name="Oval 1167"/>
            <p:cNvSpPr>
              <a:spLocks noChangeAspect="1" noChangeArrowheads="1"/>
            </p:cNvSpPr>
            <p:nvPr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5" name="Oval 1168"/>
            <p:cNvSpPr>
              <a:spLocks noChangeAspect="1" noChangeArrowheads="1"/>
            </p:cNvSpPr>
            <p:nvPr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6" name="Oval 1169"/>
            <p:cNvSpPr>
              <a:spLocks noChangeAspect="1" noChangeArrowheads="1"/>
            </p:cNvSpPr>
            <p:nvPr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7" name="Oval 1170"/>
            <p:cNvSpPr>
              <a:spLocks noChangeAspect="1" noChangeArrowheads="1"/>
            </p:cNvSpPr>
            <p:nvPr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8" name="Oval 1171"/>
            <p:cNvSpPr>
              <a:spLocks noChangeAspect="1" noChangeArrowheads="1"/>
            </p:cNvSpPr>
            <p:nvPr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9" name="Oval 1172"/>
            <p:cNvSpPr>
              <a:spLocks noChangeAspect="1" noChangeArrowheads="1"/>
            </p:cNvSpPr>
            <p:nvPr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0" name="Oval 1173"/>
            <p:cNvSpPr>
              <a:spLocks noChangeAspect="1" noChangeArrowheads="1"/>
            </p:cNvSpPr>
            <p:nvPr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1" name="Oval 1174"/>
            <p:cNvSpPr>
              <a:spLocks noChangeAspect="1" noChangeArrowheads="1"/>
            </p:cNvSpPr>
            <p:nvPr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2" name="Oval 1175"/>
            <p:cNvSpPr>
              <a:spLocks noChangeAspect="1" noChangeArrowheads="1"/>
            </p:cNvSpPr>
            <p:nvPr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3" name="Oval 1176"/>
            <p:cNvSpPr>
              <a:spLocks noChangeAspect="1" noChangeArrowheads="1"/>
            </p:cNvSpPr>
            <p:nvPr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4" name="Oval 1177"/>
            <p:cNvSpPr>
              <a:spLocks noChangeAspect="1" noChangeArrowheads="1"/>
            </p:cNvSpPr>
            <p:nvPr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5" name="Oval 1178"/>
            <p:cNvSpPr>
              <a:spLocks noChangeAspect="1" noChangeArrowheads="1"/>
            </p:cNvSpPr>
            <p:nvPr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6" name="Oval 1179"/>
            <p:cNvSpPr>
              <a:spLocks noChangeAspect="1" noChangeArrowheads="1"/>
            </p:cNvSpPr>
            <p:nvPr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7" name="Oval 1180"/>
            <p:cNvSpPr>
              <a:spLocks noChangeAspect="1" noChangeArrowheads="1"/>
            </p:cNvSpPr>
            <p:nvPr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8" name="Oval 1181"/>
            <p:cNvSpPr>
              <a:spLocks noChangeAspect="1" noChangeArrowheads="1"/>
            </p:cNvSpPr>
            <p:nvPr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9" name="Oval 1182"/>
            <p:cNvSpPr>
              <a:spLocks noChangeAspect="1" noChangeArrowheads="1"/>
            </p:cNvSpPr>
            <p:nvPr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0" name="Oval 1183"/>
            <p:cNvSpPr>
              <a:spLocks noChangeAspect="1" noChangeArrowheads="1"/>
            </p:cNvSpPr>
            <p:nvPr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1" name="Oval 1184"/>
            <p:cNvSpPr>
              <a:spLocks noChangeAspect="1" noChangeArrowheads="1"/>
            </p:cNvSpPr>
            <p:nvPr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2" name="Oval 1185"/>
            <p:cNvSpPr>
              <a:spLocks noChangeAspect="1" noChangeArrowheads="1"/>
            </p:cNvSpPr>
            <p:nvPr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3" name="Oval 1186"/>
            <p:cNvSpPr>
              <a:spLocks noChangeAspect="1" noChangeArrowheads="1"/>
            </p:cNvSpPr>
            <p:nvPr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4" name="Oval 1187"/>
            <p:cNvSpPr>
              <a:spLocks noChangeAspect="1" noChangeArrowheads="1"/>
            </p:cNvSpPr>
            <p:nvPr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5" name="Oval 1188"/>
            <p:cNvSpPr>
              <a:spLocks noChangeAspect="1" noChangeArrowheads="1"/>
            </p:cNvSpPr>
            <p:nvPr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6" name="Oval 1189"/>
            <p:cNvSpPr>
              <a:spLocks noChangeAspect="1" noChangeArrowheads="1"/>
            </p:cNvSpPr>
            <p:nvPr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7" name="Oval 1190"/>
            <p:cNvSpPr>
              <a:spLocks noChangeAspect="1" noChangeArrowheads="1"/>
            </p:cNvSpPr>
            <p:nvPr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8" name="Oval 1191"/>
            <p:cNvSpPr>
              <a:spLocks noChangeAspect="1" noChangeArrowheads="1"/>
            </p:cNvSpPr>
            <p:nvPr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9" name="Oval 1192"/>
            <p:cNvSpPr>
              <a:spLocks noChangeAspect="1" noChangeArrowheads="1"/>
            </p:cNvSpPr>
            <p:nvPr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0" name="Oval 1193"/>
            <p:cNvSpPr>
              <a:spLocks noChangeAspect="1" noChangeArrowheads="1"/>
            </p:cNvSpPr>
            <p:nvPr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1" name="Oval 1194"/>
            <p:cNvSpPr>
              <a:spLocks noChangeAspect="1" noChangeArrowheads="1"/>
            </p:cNvSpPr>
            <p:nvPr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2" name="Oval 1195"/>
            <p:cNvSpPr>
              <a:spLocks noChangeAspect="1" noChangeArrowheads="1"/>
            </p:cNvSpPr>
            <p:nvPr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3" name="Oval 1196"/>
            <p:cNvSpPr>
              <a:spLocks noChangeAspect="1" noChangeArrowheads="1"/>
            </p:cNvSpPr>
            <p:nvPr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4" name="Oval 1197"/>
            <p:cNvSpPr>
              <a:spLocks noChangeAspect="1" noChangeArrowheads="1"/>
            </p:cNvSpPr>
            <p:nvPr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5" name="Oval 1198"/>
            <p:cNvSpPr>
              <a:spLocks noChangeAspect="1" noChangeArrowheads="1"/>
            </p:cNvSpPr>
            <p:nvPr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6" name="Oval 1199"/>
            <p:cNvSpPr>
              <a:spLocks noChangeAspect="1" noChangeArrowheads="1"/>
            </p:cNvSpPr>
            <p:nvPr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7" name="Oval 1200"/>
            <p:cNvSpPr>
              <a:spLocks noChangeAspect="1" noChangeArrowheads="1"/>
            </p:cNvSpPr>
            <p:nvPr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8" name="Oval 1201"/>
            <p:cNvSpPr>
              <a:spLocks noChangeAspect="1" noChangeArrowheads="1"/>
            </p:cNvSpPr>
            <p:nvPr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9" name="Oval 1202"/>
            <p:cNvSpPr>
              <a:spLocks noChangeAspect="1" noChangeArrowheads="1"/>
            </p:cNvSpPr>
            <p:nvPr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0" name="Oval 1203"/>
            <p:cNvSpPr>
              <a:spLocks noChangeAspect="1" noChangeArrowheads="1"/>
            </p:cNvSpPr>
            <p:nvPr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1" name="Oval 1204"/>
            <p:cNvSpPr>
              <a:spLocks noChangeAspect="1" noChangeArrowheads="1"/>
            </p:cNvSpPr>
            <p:nvPr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2" name="Oval 1205"/>
            <p:cNvSpPr>
              <a:spLocks noChangeAspect="1" noChangeArrowheads="1"/>
            </p:cNvSpPr>
            <p:nvPr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3" name="Oval 1206"/>
            <p:cNvSpPr>
              <a:spLocks noChangeAspect="1" noChangeArrowheads="1"/>
            </p:cNvSpPr>
            <p:nvPr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4" name="Oval 1207"/>
            <p:cNvSpPr>
              <a:spLocks noChangeAspect="1" noChangeArrowheads="1"/>
            </p:cNvSpPr>
            <p:nvPr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5" name="Oval 1208"/>
            <p:cNvSpPr>
              <a:spLocks noChangeAspect="1" noChangeArrowheads="1"/>
            </p:cNvSpPr>
            <p:nvPr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6" name="Oval 1209"/>
            <p:cNvSpPr>
              <a:spLocks noChangeAspect="1" noChangeArrowheads="1"/>
            </p:cNvSpPr>
            <p:nvPr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7" name="Oval 1210"/>
            <p:cNvSpPr>
              <a:spLocks noChangeAspect="1" noChangeArrowheads="1"/>
            </p:cNvSpPr>
            <p:nvPr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8" name="Oval 1211"/>
            <p:cNvSpPr>
              <a:spLocks noChangeAspect="1" noChangeArrowheads="1"/>
            </p:cNvSpPr>
            <p:nvPr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9" name="Oval 1212"/>
            <p:cNvSpPr>
              <a:spLocks noChangeAspect="1" noChangeArrowheads="1"/>
            </p:cNvSpPr>
            <p:nvPr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0" name="Oval 1213"/>
            <p:cNvSpPr>
              <a:spLocks noChangeAspect="1" noChangeArrowheads="1"/>
            </p:cNvSpPr>
            <p:nvPr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1" name="Oval 1214"/>
            <p:cNvSpPr>
              <a:spLocks noChangeAspect="1" noChangeArrowheads="1"/>
            </p:cNvSpPr>
            <p:nvPr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2" name="Oval 1215"/>
            <p:cNvSpPr>
              <a:spLocks noChangeAspect="1" noChangeArrowheads="1"/>
            </p:cNvSpPr>
            <p:nvPr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3" name="Oval 1216"/>
            <p:cNvSpPr>
              <a:spLocks noChangeAspect="1" noChangeArrowheads="1"/>
            </p:cNvSpPr>
            <p:nvPr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4" name="Oval 1217"/>
            <p:cNvSpPr>
              <a:spLocks noChangeAspect="1" noChangeArrowheads="1"/>
            </p:cNvSpPr>
            <p:nvPr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5" name="Oval 1218"/>
            <p:cNvSpPr>
              <a:spLocks noChangeAspect="1" noChangeArrowheads="1"/>
            </p:cNvSpPr>
            <p:nvPr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6" name="Oval 1219"/>
            <p:cNvSpPr>
              <a:spLocks noChangeAspect="1" noChangeArrowheads="1"/>
            </p:cNvSpPr>
            <p:nvPr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7" name="Oval 1220"/>
            <p:cNvSpPr>
              <a:spLocks noChangeAspect="1" noChangeArrowheads="1"/>
            </p:cNvSpPr>
            <p:nvPr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8" name="Oval 1221"/>
            <p:cNvSpPr>
              <a:spLocks noChangeAspect="1" noChangeArrowheads="1"/>
            </p:cNvSpPr>
            <p:nvPr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9" name="Oval 1222"/>
            <p:cNvSpPr>
              <a:spLocks noChangeAspect="1" noChangeArrowheads="1"/>
            </p:cNvSpPr>
            <p:nvPr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20" name="Oval 1223"/>
            <p:cNvSpPr>
              <a:spLocks noChangeAspect="1" noChangeArrowheads="1"/>
            </p:cNvSpPr>
            <p:nvPr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1397" name="组合 1396"/>
          <p:cNvGrpSpPr/>
          <p:nvPr/>
        </p:nvGrpSpPr>
        <p:grpSpPr>
          <a:xfrm>
            <a:off x="4723748" y="1895527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1403" name="直接连接符 1402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4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  <a:endParaRPr lang="en-US" sz="11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405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/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1398" name="TextBox 57"/>
          <p:cNvSpPr txBox="1"/>
          <p:nvPr/>
        </p:nvSpPr>
        <p:spPr>
          <a:xfrm>
            <a:off x="4678375" y="3024839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399" name="TextBox 60"/>
          <p:cNvSpPr txBox="1"/>
          <p:nvPr/>
        </p:nvSpPr>
        <p:spPr>
          <a:xfrm>
            <a:off x="4678375" y="2407410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00" name="TextBox 61"/>
          <p:cNvSpPr txBox="1"/>
          <p:nvPr/>
        </p:nvSpPr>
        <p:spPr>
          <a:xfrm>
            <a:off x="4678375" y="4422599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01" name="TextBox 81"/>
          <p:cNvSpPr txBox="1"/>
          <p:nvPr/>
        </p:nvSpPr>
        <p:spPr>
          <a:xfrm>
            <a:off x="4678375" y="3805171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02" name="TextBox 60"/>
          <p:cNvSpPr txBox="1"/>
          <p:nvPr/>
        </p:nvSpPr>
        <p:spPr>
          <a:xfrm>
            <a:off x="5144048" y="4952487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2626" name="组合 2625"/>
          <p:cNvGrpSpPr/>
          <p:nvPr/>
        </p:nvGrpSpPr>
        <p:grpSpPr>
          <a:xfrm>
            <a:off x="8276191" y="1781673"/>
            <a:ext cx="3027428" cy="4128455"/>
            <a:chOff x="647529" y="1264920"/>
            <a:chExt cx="3497751" cy="4769827"/>
          </a:xfrm>
        </p:grpSpPr>
        <p:sp>
          <p:nvSpPr>
            <p:cNvPr id="3852" name="矩形 3851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853" name="组合 3852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3854" name="矩形 3853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855" name="等腰三角形 3854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2627" name="Group 2"/>
          <p:cNvGrpSpPr/>
          <p:nvPr/>
        </p:nvGrpSpPr>
        <p:grpSpPr>
          <a:xfrm flipH="1">
            <a:off x="8754451" y="2885905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2637" name="Oval 9"/>
            <p:cNvSpPr>
              <a:spLocks noChangeAspect="1" noChangeArrowheads="1"/>
            </p:cNvSpPr>
            <p:nvPr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8" name="Oval 10"/>
            <p:cNvSpPr>
              <a:spLocks noChangeAspect="1" noChangeArrowheads="1"/>
            </p:cNvSpPr>
            <p:nvPr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9" name="Oval 11"/>
            <p:cNvSpPr>
              <a:spLocks noChangeAspect="1" noChangeArrowheads="1"/>
            </p:cNvSpPr>
            <p:nvPr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0" name="Oval 12"/>
            <p:cNvSpPr>
              <a:spLocks noChangeAspect="1" noChangeArrowheads="1"/>
            </p:cNvSpPr>
            <p:nvPr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1" name="Oval 13"/>
            <p:cNvSpPr>
              <a:spLocks noChangeAspect="1" noChangeArrowheads="1"/>
            </p:cNvSpPr>
            <p:nvPr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2" name="Oval 14"/>
            <p:cNvSpPr>
              <a:spLocks noChangeAspect="1" noChangeArrowheads="1"/>
            </p:cNvSpPr>
            <p:nvPr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3" name="Oval 15"/>
            <p:cNvSpPr>
              <a:spLocks noChangeAspect="1" noChangeArrowheads="1"/>
            </p:cNvSpPr>
            <p:nvPr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4" name="Oval 16"/>
            <p:cNvSpPr>
              <a:spLocks noChangeAspect="1" noChangeArrowheads="1"/>
            </p:cNvSpPr>
            <p:nvPr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5" name="Oval 17"/>
            <p:cNvSpPr>
              <a:spLocks noChangeAspect="1" noChangeArrowheads="1"/>
            </p:cNvSpPr>
            <p:nvPr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6" name="Oval 18"/>
            <p:cNvSpPr>
              <a:spLocks noChangeAspect="1" noChangeArrowheads="1"/>
            </p:cNvSpPr>
            <p:nvPr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7" name="Oval 19"/>
            <p:cNvSpPr>
              <a:spLocks noChangeAspect="1" noChangeArrowheads="1"/>
            </p:cNvSpPr>
            <p:nvPr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8" name="Oval 20"/>
            <p:cNvSpPr>
              <a:spLocks noChangeAspect="1" noChangeArrowheads="1"/>
            </p:cNvSpPr>
            <p:nvPr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9" name="Oval 21"/>
            <p:cNvSpPr>
              <a:spLocks noChangeAspect="1" noChangeArrowheads="1"/>
            </p:cNvSpPr>
            <p:nvPr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0" name="Oval 22"/>
            <p:cNvSpPr>
              <a:spLocks noChangeAspect="1" noChangeArrowheads="1"/>
            </p:cNvSpPr>
            <p:nvPr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1" name="Oval 23"/>
            <p:cNvSpPr>
              <a:spLocks noChangeAspect="1" noChangeArrowheads="1"/>
            </p:cNvSpPr>
            <p:nvPr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2" name="Oval 24"/>
            <p:cNvSpPr>
              <a:spLocks noChangeAspect="1" noChangeArrowheads="1"/>
            </p:cNvSpPr>
            <p:nvPr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3" name="Oval 25"/>
            <p:cNvSpPr>
              <a:spLocks noChangeAspect="1" noChangeArrowheads="1"/>
            </p:cNvSpPr>
            <p:nvPr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4" name="Oval 26"/>
            <p:cNvSpPr>
              <a:spLocks noChangeAspect="1" noChangeArrowheads="1"/>
            </p:cNvSpPr>
            <p:nvPr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5" name="Oval 27"/>
            <p:cNvSpPr>
              <a:spLocks noChangeAspect="1" noChangeArrowheads="1"/>
            </p:cNvSpPr>
            <p:nvPr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6" name="Oval 28"/>
            <p:cNvSpPr>
              <a:spLocks noChangeAspect="1" noChangeArrowheads="1"/>
            </p:cNvSpPr>
            <p:nvPr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7" name="Oval 29"/>
            <p:cNvSpPr>
              <a:spLocks noChangeAspect="1" noChangeArrowheads="1"/>
            </p:cNvSpPr>
            <p:nvPr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8" name="Oval 30"/>
            <p:cNvSpPr>
              <a:spLocks noChangeAspect="1" noChangeArrowheads="1"/>
            </p:cNvSpPr>
            <p:nvPr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9" name="Oval 31"/>
            <p:cNvSpPr>
              <a:spLocks noChangeAspect="1" noChangeArrowheads="1"/>
            </p:cNvSpPr>
            <p:nvPr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0" name="Oval 32"/>
            <p:cNvSpPr>
              <a:spLocks noChangeAspect="1" noChangeArrowheads="1"/>
            </p:cNvSpPr>
            <p:nvPr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1" name="Oval 33"/>
            <p:cNvSpPr>
              <a:spLocks noChangeAspect="1" noChangeArrowheads="1"/>
            </p:cNvSpPr>
            <p:nvPr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2" name="Oval 34"/>
            <p:cNvSpPr>
              <a:spLocks noChangeAspect="1" noChangeArrowheads="1"/>
            </p:cNvSpPr>
            <p:nvPr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3" name="Oval 35"/>
            <p:cNvSpPr>
              <a:spLocks noChangeAspect="1" noChangeArrowheads="1"/>
            </p:cNvSpPr>
            <p:nvPr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4" name="Oval 36"/>
            <p:cNvSpPr>
              <a:spLocks noChangeAspect="1" noChangeArrowheads="1"/>
            </p:cNvSpPr>
            <p:nvPr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5" name="Oval 37"/>
            <p:cNvSpPr>
              <a:spLocks noChangeAspect="1" noChangeArrowheads="1"/>
            </p:cNvSpPr>
            <p:nvPr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6" name="Oval 38"/>
            <p:cNvSpPr>
              <a:spLocks noChangeAspect="1" noChangeArrowheads="1"/>
            </p:cNvSpPr>
            <p:nvPr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7" name="Oval 39"/>
            <p:cNvSpPr>
              <a:spLocks noChangeAspect="1" noChangeArrowheads="1"/>
            </p:cNvSpPr>
            <p:nvPr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8" name="Oval 40"/>
            <p:cNvSpPr>
              <a:spLocks noChangeAspect="1" noChangeArrowheads="1"/>
            </p:cNvSpPr>
            <p:nvPr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9" name="Oval 41"/>
            <p:cNvSpPr>
              <a:spLocks noChangeAspect="1" noChangeArrowheads="1"/>
            </p:cNvSpPr>
            <p:nvPr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0" name="Oval 42"/>
            <p:cNvSpPr>
              <a:spLocks noChangeAspect="1" noChangeArrowheads="1"/>
            </p:cNvSpPr>
            <p:nvPr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1" name="Oval 43"/>
            <p:cNvSpPr>
              <a:spLocks noChangeAspect="1" noChangeArrowheads="1"/>
            </p:cNvSpPr>
            <p:nvPr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2" name="Oval 44"/>
            <p:cNvSpPr>
              <a:spLocks noChangeAspect="1" noChangeArrowheads="1"/>
            </p:cNvSpPr>
            <p:nvPr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3" name="Oval 45"/>
            <p:cNvSpPr>
              <a:spLocks noChangeAspect="1" noChangeArrowheads="1"/>
            </p:cNvSpPr>
            <p:nvPr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4" name="Oval 46"/>
            <p:cNvSpPr>
              <a:spLocks noChangeAspect="1" noChangeArrowheads="1"/>
            </p:cNvSpPr>
            <p:nvPr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5" name="Oval 47"/>
            <p:cNvSpPr>
              <a:spLocks noChangeAspect="1" noChangeArrowheads="1"/>
            </p:cNvSpPr>
            <p:nvPr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6" name="Oval 48"/>
            <p:cNvSpPr>
              <a:spLocks noChangeAspect="1" noChangeArrowheads="1"/>
            </p:cNvSpPr>
            <p:nvPr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7" name="Oval 49"/>
            <p:cNvSpPr>
              <a:spLocks noChangeAspect="1" noChangeArrowheads="1"/>
            </p:cNvSpPr>
            <p:nvPr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8" name="Oval 50"/>
            <p:cNvSpPr>
              <a:spLocks noChangeAspect="1" noChangeArrowheads="1"/>
            </p:cNvSpPr>
            <p:nvPr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9" name="Oval 51"/>
            <p:cNvSpPr>
              <a:spLocks noChangeAspect="1" noChangeArrowheads="1"/>
            </p:cNvSpPr>
            <p:nvPr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0" name="Oval 52"/>
            <p:cNvSpPr>
              <a:spLocks noChangeAspect="1" noChangeArrowheads="1"/>
            </p:cNvSpPr>
            <p:nvPr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1" name="Oval 53"/>
            <p:cNvSpPr>
              <a:spLocks noChangeAspect="1" noChangeArrowheads="1"/>
            </p:cNvSpPr>
            <p:nvPr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2" name="Oval 54"/>
            <p:cNvSpPr>
              <a:spLocks noChangeAspect="1" noChangeArrowheads="1"/>
            </p:cNvSpPr>
            <p:nvPr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3" name="Oval 55"/>
            <p:cNvSpPr>
              <a:spLocks noChangeAspect="1" noChangeArrowheads="1"/>
            </p:cNvSpPr>
            <p:nvPr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4" name="Oval 56"/>
            <p:cNvSpPr>
              <a:spLocks noChangeAspect="1" noChangeArrowheads="1"/>
            </p:cNvSpPr>
            <p:nvPr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5" name="Oval 57"/>
            <p:cNvSpPr>
              <a:spLocks noChangeAspect="1" noChangeArrowheads="1"/>
            </p:cNvSpPr>
            <p:nvPr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6" name="Oval 58"/>
            <p:cNvSpPr>
              <a:spLocks noChangeAspect="1" noChangeArrowheads="1"/>
            </p:cNvSpPr>
            <p:nvPr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7" name="Oval 59"/>
            <p:cNvSpPr>
              <a:spLocks noChangeAspect="1" noChangeArrowheads="1"/>
            </p:cNvSpPr>
            <p:nvPr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8" name="Oval 60"/>
            <p:cNvSpPr>
              <a:spLocks noChangeAspect="1" noChangeArrowheads="1"/>
            </p:cNvSpPr>
            <p:nvPr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9" name="Oval 61"/>
            <p:cNvSpPr>
              <a:spLocks noChangeAspect="1" noChangeArrowheads="1"/>
            </p:cNvSpPr>
            <p:nvPr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0" name="Oval 62"/>
            <p:cNvSpPr>
              <a:spLocks noChangeAspect="1" noChangeArrowheads="1"/>
            </p:cNvSpPr>
            <p:nvPr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1" name="Oval 63"/>
            <p:cNvSpPr>
              <a:spLocks noChangeAspect="1" noChangeArrowheads="1"/>
            </p:cNvSpPr>
            <p:nvPr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2" name="Oval 64"/>
            <p:cNvSpPr>
              <a:spLocks noChangeAspect="1" noChangeArrowheads="1"/>
            </p:cNvSpPr>
            <p:nvPr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3" name="Oval 65"/>
            <p:cNvSpPr>
              <a:spLocks noChangeAspect="1" noChangeArrowheads="1"/>
            </p:cNvSpPr>
            <p:nvPr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4" name="Oval 66"/>
            <p:cNvSpPr>
              <a:spLocks noChangeAspect="1" noChangeArrowheads="1"/>
            </p:cNvSpPr>
            <p:nvPr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5" name="Oval 67"/>
            <p:cNvSpPr>
              <a:spLocks noChangeAspect="1" noChangeArrowheads="1"/>
            </p:cNvSpPr>
            <p:nvPr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6" name="Oval 68"/>
            <p:cNvSpPr>
              <a:spLocks noChangeAspect="1" noChangeArrowheads="1"/>
            </p:cNvSpPr>
            <p:nvPr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7" name="Oval 69"/>
            <p:cNvSpPr>
              <a:spLocks noChangeAspect="1" noChangeArrowheads="1"/>
            </p:cNvSpPr>
            <p:nvPr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8" name="Oval 70"/>
            <p:cNvSpPr>
              <a:spLocks noChangeAspect="1" noChangeArrowheads="1"/>
            </p:cNvSpPr>
            <p:nvPr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9" name="Oval 71"/>
            <p:cNvSpPr>
              <a:spLocks noChangeAspect="1" noChangeArrowheads="1"/>
            </p:cNvSpPr>
            <p:nvPr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0" name="Oval 72"/>
            <p:cNvSpPr>
              <a:spLocks noChangeAspect="1" noChangeArrowheads="1"/>
            </p:cNvSpPr>
            <p:nvPr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1" name="Oval 73"/>
            <p:cNvSpPr>
              <a:spLocks noChangeAspect="1" noChangeArrowheads="1"/>
            </p:cNvSpPr>
            <p:nvPr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2" name="Oval 74"/>
            <p:cNvSpPr>
              <a:spLocks noChangeAspect="1" noChangeArrowheads="1"/>
            </p:cNvSpPr>
            <p:nvPr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3" name="Oval 75"/>
            <p:cNvSpPr>
              <a:spLocks noChangeAspect="1" noChangeArrowheads="1"/>
            </p:cNvSpPr>
            <p:nvPr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4" name="Oval 76"/>
            <p:cNvSpPr>
              <a:spLocks noChangeAspect="1" noChangeArrowheads="1"/>
            </p:cNvSpPr>
            <p:nvPr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5" name="Oval 77"/>
            <p:cNvSpPr>
              <a:spLocks noChangeAspect="1" noChangeArrowheads="1"/>
            </p:cNvSpPr>
            <p:nvPr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6" name="Oval 78"/>
            <p:cNvSpPr>
              <a:spLocks noChangeAspect="1" noChangeArrowheads="1"/>
            </p:cNvSpPr>
            <p:nvPr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7" name="Oval 79"/>
            <p:cNvSpPr>
              <a:spLocks noChangeAspect="1" noChangeArrowheads="1"/>
            </p:cNvSpPr>
            <p:nvPr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8" name="Oval 80"/>
            <p:cNvSpPr>
              <a:spLocks noChangeAspect="1" noChangeArrowheads="1"/>
            </p:cNvSpPr>
            <p:nvPr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9" name="Oval 81"/>
            <p:cNvSpPr>
              <a:spLocks noChangeAspect="1" noChangeArrowheads="1"/>
            </p:cNvSpPr>
            <p:nvPr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0" name="Oval 82"/>
            <p:cNvSpPr>
              <a:spLocks noChangeAspect="1" noChangeArrowheads="1"/>
            </p:cNvSpPr>
            <p:nvPr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1" name="Oval 83"/>
            <p:cNvSpPr>
              <a:spLocks noChangeAspect="1" noChangeArrowheads="1"/>
            </p:cNvSpPr>
            <p:nvPr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2" name="Oval 84"/>
            <p:cNvSpPr>
              <a:spLocks noChangeAspect="1" noChangeArrowheads="1"/>
            </p:cNvSpPr>
            <p:nvPr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3" name="Oval 85"/>
            <p:cNvSpPr>
              <a:spLocks noChangeAspect="1" noChangeArrowheads="1"/>
            </p:cNvSpPr>
            <p:nvPr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4" name="Oval 86"/>
            <p:cNvSpPr>
              <a:spLocks noChangeAspect="1" noChangeArrowheads="1"/>
            </p:cNvSpPr>
            <p:nvPr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5" name="Oval 87"/>
            <p:cNvSpPr>
              <a:spLocks noChangeAspect="1" noChangeArrowheads="1"/>
            </p:cNvSpPr>
            <p:nvPr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6" name="Oval 88"/>
            <p:cNvSpPr>
              <a:spLocks noChangeAspect="1" noChangeArrowheads="1"/>
            </p:cNvSpPr>
            <p:nvPr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7" name="Oval 89"/>
            <p:cNvSpPr>
              <a:spLocks noChangeAspect="1" noChangeArrowheads="1"/>
            </p:cNvSpPr>
            <p:nvPr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8" name="Oval 90"/>
            <p:cNvSpPr>
              <a:spLocks noChangeAspect="1" noChangeArrowheads="1"/>
            </p:cNvSpPr>
            <p:nvPr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9" name="Oval 91"/>
            <p:cNvSpPr>
              <a:spLocks noChangeAspect="1" noChangeArrowheads="1"/>
            </p:cNvSpPr>
            <p:nvPr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0" name="Oval 92"/>
            <p:cNvSpPr>
              <a:spLocks noChangeAspect="1" noChangeArrowheads="1"/>
            </p:cNvSpPr>
            <p:nvPr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1" name="Oval 93"/>
            <p:cNvSpPr>
              <a:spLocks noChangeAspect="1" noChangeArrowheads="1"/>
            </p:cNvSpPr>
            <p:nvPr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2" name="Oval 94"/>
            <p:cNvSpPr>
              <a:spLocks noChangeAspect="1" noChangeArrowheads="1"/>
            </p:cNvSpPr>
            <p:nvPr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3" name="Oval 95"/>
            <p:cNvSpPr>
              <a:spLocks noChangeAspect="1" noChangeArrowheads="1"/>
            </p:cNvSpPr>
            <p:nvPr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4" name="Oval 96"/>
            <p:cNvSpPr>
              <a:spLocks noChangeAspect="1" noChangeArrowheads="1"/>
            </p:cNvSpPr>
            <p:nvPr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5" name="Oval 97"/>
            <p:cNvSpPr>
              <a:spLocks noChangeAspect="1" noChangeArrowheads="1"/>
            </p:cNvSpPr>
            <p:nvPr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6" name="Oval 98"/>
            <p:cNvSpPr>
              <a:spLocks noChangeAspect="1" noChangeArrowheads="1"/>
            </p:cNvSpPr>
            <p:nvPr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7" name="Oval 99"/>
            <p:cNvSpPr>
              <a:spLocks noChangeAspect="1" noChangeArrowheads="1"/>
            </p:cNvSpPr>
            <p:nvPr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8" name="Oval 100"/>
            <p:cNvSpPr>
              <a:spLocks noChangeAspect="1" noChangeArrowheads="1"/>
            </p:cNvSpPr>
            <p:nvPr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9" name="Oval 101"/>
            <p:cNvSpPr>
              <a:spLocks noChangeAspect="1" noChangeArrowheads="1"/>
            </p:cNvSpPr>
            <p:nvPr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0" name="Oval 102"/>
            <p:cNvSpPr>
              <a:spLocks noChangeAspect="1" noChangeArrowheads="1"/>
            </p:cNvSpPr>
            <p:nvPr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1" name="Oval 103"/>
            <p:cNvSpPr>
              <a:spLocks noChangeAspect="1" noChangeArrowheads="1"/>
            </p:cNvSpPr>
            <p:nvPr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2" name="Oval 104"/>
            <p:cNvSpPr>
              <a:spLocks noChangeAspect="1" noChangeArrowheads="1"/>
            </p:cNvSpPr>
            <p:nvPr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3" name="Oval 105"/>
            <p:cNvSpPr>
              <a:spLocks noChangeAspect="1" noChangeArrowheads="1"/>
            </p:cNvSpPr>
            <p:nvPr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4" name="Oval 106"/>
            <p:cNvSpPr>
              <a:spLocks noChangeAspect="1" noChangeArrowheads="1"/>
            </p:cNvSpPr>
            <p:nvPr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5" name="Oval 107"/>
            <p:cNvSpPr>
              <a:spLocks noChangeAspect="1" noChangeArrowheads="1"/>
            </p:cNvSpPr>
            <p:nvPr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6" name="Oval 108"/>
            <p:cNvSpPr>
              <a:spLocks noChangeAspect="1" noChangeArrowheads="1"/>
            </p:cNvSpPr>
            <p:nvPr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7" name="Oval 109"/>
            <p:cNvSpPr>
              <a:spLocks noChangeAspect="1" noChangeArrowheads="1"/>
            </p:cNvSpPr>
            <p:nvPr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8" name="Oval 110"/>
            <p:cNvSpPr>
              <a:spLocks noChangeAspect="1" noChangeArrowheads="1"/>
            </p:cNvSpPr>
            <p:nvPr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9" name="Oval 111"/>
            <p:cNvSpPr>
              <a:spLocks noChangeAspect="1" noChangeArrowheads="1"/>
            </p:cNvSpPr>
            <p:nvPr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0" name="Oval 112"/>
            <p:cNvSpPr>
              <a:spLocks noChangeAspect="1" noChangeArrowheads="1"/>
            </p:cNvSpPr>
            <p:nvPr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1" name="Oval 113"/>
            <p:cNvSpPr>
              <a:spLocks noChangeAspect="1" noChangeArrowheads="1"/>
            </p:cNvSpPr>
            <p:nvPr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2" name="Oval 114"/>
            <p:cNvSpPr>
              <a:spLocks noChangeAspect="1" noChangeArrowheads="1"/>
            </p:cNvSpPr>
            <p:nvPr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3" name="Oval 115"/>
            <p:cNvSpPr>
              <a:spLocks noChangeAspect="1" noChangeArrowheads="1"/>
            </p:cNvSpPr>
            <p:nvPr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4" name="Oval 116"/>
            <p:cNvSpPr>
              <a:spLocks noChangeAspect="1" noChangeArrowheads="1"/>
            </p:cNvSpPr>
            <p:nvPr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5" name="Oval 117"/>
            <p:cNvSpPr>
              <a:spLocks noChangeAspect="1" noChangeArrowheads="1"/>
            </p:cNvSpPr>
            <p:nvPr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6" name="Oval 118"/>
            <p:cNvSpPr>
              <a:spLocks noChangeAspect="1" noChangeArrowheads="1"/>
            </p:cNvSpPr>
            <p:nvPr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7" name="Oval 119"/>
            <p:cNvSpPr>
              <a:spLocks noChangeAspect="1" noChangeArrowheads="1"/>
            </p:cNvSpPr>
            <p:nvPr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8" name="Oval 120"/>
            <p:cNvSpPr>
              <a:spLocks noChangeAspect="1" noChangeArrowheads="1"/>
            </p:cNvSpPr>
            <p:nvPr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9" name="Oval 121"/>
            <p:cNvSpPr>
              <a:spLocks noChangeAspect="1" noChangeArrowheads="1"/>
            </p:cNvSpPr>
            <p:nvPr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0" name="Oval 122"/>
            <p:cNvSpPr>
              <a:spLocks noChangeAspect="1" noChangeArrowheads="1"/>
            </p:cNvSpPr>
            <p:nvPr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1" name="Oval 123"/>
            <p:cNvSpPr>
              <a:spLocks noChangeAspect="1" noChangeArrowheads="1"/>
            </p:cNvSpPr>
            <p:nvPr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2" name="Oval 124"/>
            <p:cNvSpPr>
              <a:spLocks noChangeAspect="1" noChangeArrowheads="1"/>
            </p:cNvSpPr>
            <p:nvPr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3" name="Oval 125"/>
            <p:cNvSpPr>
              <a:spLocks noChangeAspect="1" noChangeArrowheads="1"/>
            </p:cNvSpPr>
            <p:nvPr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4" name="Oval 126"/>
            <p:cNvSpPr>
              <a:spLocks noChangeAspect="1" noChangeArrowheads="1"/>
            </p:cNvSpPr>
            <p:nvPr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5" name="Oval 127"/>
            <p:cNvSpPr>
              <a:spLocks noChangeAspect="1" noChangeArrowheads="1"/>
            </p:cNvSpPr>
            <p:nvPr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6" name="Oval 128"/>
            <p:cNvSpPr>
              <a:spLocks noChangeAspect="1" noChangeArrowheads="1"/>
            </p:cNvSpPr>
            <p:nvPr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7" name="Oval 129"/>
            <p:cNvSpPr>
              <a:spLocks noChangeAspect="1" noChangeArrowheads="1"/>
            </p:cNvSpPr>
            <p:nvPr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8" name="Oval 130"/>
            <p:cNvSpPr>
              <a:spLocks noChangeAspect="1" noChangeArrowheads="1"/>
            </p:cNvSpPr>
            <p:nvPr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9" name="Oval 131"/>
            <p:cNvSpPr>
              <a:spLocks noChangeAspect="1" noChangeArrowheads="1"/>
            </p:cNvSpPr>
            <p:nvPr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0" name="Oval 132"/>
            <p:cNvSpPr>
              <a:spLocks noChangeAspect="1" noChangeArrowheads="1"/>
            </p:cNvSpPr>
            <p:nvPr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1" name="Oval 133"/>
            <p:cNvSpPr>
              <a:spLocks noChangeAspect="1" noChangeArrowheads="1"/>
            </p:cNvSpPr>
            <p:nvPr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2" name="Oval 134"/>
            <p:cNvSpPr>
              <a:spLocks noChangeAspect="1" noChangeArrowheads="1"/>
            </p:cNvSpPr>
            <p:nvPr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3" name="Oval 135"/>
            <p:cNvSpPr>
              <a:spLocks noChangeAspect="1" noChangeArrowheads="1"/>
            </p:cNvSpPr>
            <p:nvPr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4" name="Oval 136"/>
            <p:cNvSpPr>
              <a:spLocks noChangeAspect="1" noChangeArrowheads="1"/>
            </p:cNvSpPr>
            <p:nvPr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5" name="Oval 137"/>
            <p:cNvSpPr>
              <a:spLocks noChangeAspect="1" noChangeArrowheads="1"/>
            </p:cNvSpPr>
            <p:nvPr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6" name="Oval 138"/>
            <p:cNvSpPr>
              <a:spLocks noChangeAspect="1" noChangeArrowheads="1"/>
            </p:cNvSpPr>
            <p:nvPr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7" name="Oval 139"/>
            <p:cNvSpPr>
              <a:spLocks noChangeAspect="1" noChangeArrowheads="1"/>
            </p:cNvSpPr>
            <p:nvPr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8" name="Oval 140"/>
            <p:cNvSpPr>
              <a:spLocks noChangeAspect="1" noChangeArrowheads="1"/>
            </p:cNvSpPr>
            <p:nvPr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9" name="Oval 141"/>
            <p:cNvSpPr>
              <a:spLocks noChangeAspect="1" noChangeArrowheads="1"/>
            </p:cNvSpPr>
            <p:nvPr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0" name="Oval 142"/>
            <p:cNvSpPr>
              <a:spLocks noChangeAspect="1" noChangeArrowheads="1"/>
            </p:cNvSpPr>
            <p:nvPr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1" name="Oval 143"/>
            <p:cNvSpPr>
              <a:spLocks noChangeAspect="1" noChangeArrowheads="1"/>
            </p:cNvSpPr>
            <p:nvPr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2" name="Oval 144"/>
            <p:cNvSpPr>
              <a:spLocks noChangeAspect="1" noChangeArrowheads="1"/>
            </p:cNvSpPr>
            <p:nvPr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3" name="Oval 145"/>
            <p:cNvSpPr>
              <a:spLocks noChangeAspect="1" noChangeArrowheads="1"/>
            </p:cNvSpPr>
            <p:nvPr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4" name="Oval 146"/>
            <p:cNvSpPr>
              <a:spLocks noChangeAspect="1" noChangeArrowheads="1"/>
            </p:cNvSpPr>
            <p:nvPr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5" name="Oval 147"/>
            <p:cNvSpPr>
              <a:spLocks noChangeAspect="1" noChangeArrowheads="1"/>
            </p:cNvSpPr>
            <p:nvPr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6" name="Oval 148"/>
            <p:cNvSpPr>
              <a:spLocks noChangeAspect="1" noChangeArrowheads="1"/>
            </p:cNvSpPr>
            <p:nvPr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7" name="Oval 149"/>
            <p:cNvSpPr>
              <a:spLocks noChangeAspect="1" noChangeArrowheads="1"/>
            </p:cNvSpPr>
            <p:nvPr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8" name="Oval 150"/>
            <p:cNvSpPr>
              <a:spLocks noChangeAspect="1" noChangeArrowheads="1"/>
            </p:cNvSpPr>
            <p:nvPr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9" name="Oval 151"/>
            <p:cNvSpPr>
              <a:spLocks noChangeAspect="1" noChangeArrowheads="1"/>
            </p:cNvSpPr>
            <p:nvPr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0" name="Oval 152"/>
            <p:cNvSpPr>
              <a:spLocks noChangeAspect="1" noChangeArrowheads="1"/>
            </p:cNvSpPr>
            <p:nvPr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1" name="Oval 153"/>
            <p:cNvSpPr>
              <a:spLocks noChangeAspect="1" noChangeArrowheads="1"/>
            </p:cNvSpPr>
            <p:nvPr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2" name="Oval 154"/>
            <p:cNvSpPr>
              <a:spLocks noChangeAspect="1" noChangeArrowheads="1"/>
            </p:cNvSpPr>
            <p:nvPr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3" name="Oval 155"/>
            <p:cNvSpPr>
              <a:spLocks noChangeAspect="1" noChangeArrowheads="1"/>
            </p:cNvSpPr>
            <p:nvPr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4" name="Oval 156"/>
            <p:cNvSpPr>
              <a:spLocks noChangeAspect="1" noChangeArrowheads="1"/>
            </p:cNvSpPr>
            <p:nvPr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5" name="Oval 157"/>
            <p:cNvSpPr>
              <a:spLocks noChangeAspect="1" noChangeArrowheads="1"/>
            </p:cNvSpPr>
            <p:nvPr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6" name="Oval 158"/>
            <p:cNvSpPr>
              <a:spLocks noChangeAspect="1" noChangeArrowheads="1"/>
            </p:cNvSpPr>
            <p:nvPr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7" name="Oval 159"/>
            <p:cNvSpPr>
              <a:spLocks noChangeAspect="1" noChangeArrowheads="1"/>
            </p:cNvSpPr>
            <p:nvPr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8" name="Oval 160"/>
            <p:cNvSpPr>
              <a:spLocks noChangeAspect="1" noChangeArrowheads="1"/>
            </p:cNvSpPr>
            <p:nvPr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9" name="Oval 161"/>
            <p:cNvSpPr>
              <a:spLocks noChangeAspect="1" noChangeArrowheads="1"/>
            </p:cNvSpPr>
            <p:nvPr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0" name="Oval 162"/>
            <p:cNvSpPr>
              <a:spLocks noChangeAspect="1" noChangeArrowheads="1"/>
            </p:cNvSpPr>
            <p:nvPr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1" name="Oval 163"/>
            <p:cNvSpPr>
              <a:spLocks noChangeAspect="1" noChangeArrowheads="1"/>
            </p:cNvSpPr>
            <p:nvPr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2" name="Oval 164"/>
            <p:cNvSpPr>
              <a:spLocks noChangeAspect="1" noChangeArrowheads="1"/>
            </p:cNvSpPr>
            <p:nvPr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3" name="Oval 165"/>
            <p:cNvSpPr>
              <a:spLocks noChangeAspect="1" noChangeArrowheads="1"/>
            </p:cNvSpPr>
            <p:nvPr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4" name="Oval 166"/>
            <p:cNvSpPr>
              <a:spLocks noChangeAspect="1" noChangeArrowheads="1"/>
            </p:cNvSpPr>
            <p:nvPr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5" name="Oval 167"/>
            <p:cNvSpPr>
              <a:spLocks noChangeAspect="1" noChangeArrowheads="1"/>
            </p:cNvSpPr>
            <p:nvPr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6" name="Oval 168"/>
            <p:cNvSpPr>
              <a:spLocks noChangeAspect="1" noChangeArrowheads="1"/>
            </p:cNvSpPr>
            <p:nvPr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7" name="Oval 169"/>
            <p:cNvSpPr>
              <a:spLocks noChangeAspect="1" noChangeArrowheads="1"/>
            </p:cNvSpPr>
            <p:nvPr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8" name="Oval 170"/>
            <p:cNvSpPr>
              <a:spLocks noChangeAspect="1" noChangeArrowheads="1"/>
            </p:cNvSpPr>
            <p:nvPr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9" name="Oval 171"/>
            <p:cNvSpPr>
              <a:spLocks noChangeAspect="1" noChangeArrowheads="1"/>
            </p:cNvSpPr>
            <p:nvPr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0" name="Oval 172"/>
            <p:cNvSpPr>
              <a:spLocks noChangeAspect="1" noChangeArrowheads="1"/>
            </p:cNvSpPr>
            <p:nvPr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1" name="Oval 173"/>
            <p:cNvSpPr>
              <a:spLocks noChangeAspect="1" noChangeArrowheads="1"/>
            </p:cNvSpPr>
            <p:nvPr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2" name="Oval 174"/>
            <p:cNvSpPr>
              <a:spLocks noChangeAspect="1" noChangeArrowheads="1"/>
            </p:cNvSpPr>
            <p:nvPr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3" name="Oval 175"/>
            <p:cNvSpPr>
              <a:spLocks noChangeAspect="1" noChangeArrowheads="1"/>
            </p:cNvSpPr>
            <p:nvPr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4" name="Oval 176"/>
            <p:cNvSpPr>
              <a:spLocks noChangeAspect="1" noChangeArrowheads="1"/>
            </p:cNvSpPr>
            <p:nvPr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5" name="Oval 177"/>
            <p:cNvSpPr>
              <a:spLocks noChangeAspect="1" noChangeArrowheads="1"/>
            </p:cNvSpPr>
            <p:nvPr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6" name="Oval 178"/>
            <p:cNvSpPr>
              <a:spLocks noChangeAspect="1" noChangeArrowheads="1"/>
            </p:cNvSpPr>
            <p:nvPr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7" name="Oval 179"/>
            <p:cNvSpPr>
              <a:spLocks noChangeAspect="1" noChangeArrowheads="1"/>
            </p:cNvSpPr>
            <p:nvPr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8" name="Oval 180"/>
            <p:cNvSpPr>
              <a:spLocks noChangeAspect="1" noChangeArrowheads="1"/>
            </p:cNvSpPr>
            <p:nvPr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9" name="Oval 181"/>
            <p:cNvSpPr>
              <a:spLocks noChangeAspect="1" noChangeArrowheads="1"/>
            </p:cNvSpPr>
            <p:nvPr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0" name="Oval 182"/>
            <p:cNvSpPr>
              <a:spLocks noChangeAspect="1" noChangeArrowheads="1"/>
            </p:cNvSpPr>
            <p:nvPr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1" name="Oval 183"/>
            <p:cNvSpPr>
              <a:spLocks noChangeAspect="1" noChangeArrowheads="1"/>
            </p:cNvSpPr>
            <p:nvPr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2" name="Oval 184"/>
            <p:cNvSpPr>
              <a:spLocks noChangeAspect="1" noChangeArrowheads="1"/>
            </p:cNvSpPr>
            <p:nvPr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3" name="Oval 185"/>
            <p:cNvSpPr>
              <a:spLocks noChangeAspect="1" noChangeArrowheads="1"/>
            </p:cNvSpPr>
            <p:nvPr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4" name="Oval 186"/>
            <p:cNvSpPr>
              <a:spLocks noChangeAspect="1" noChangeArrowheads="1"/>
            </p:cNvSpPr>
            <p:nvPr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5" name="Oval 187"/>
            <p:cNvSpPr>
              <a:spLocks noChangeAspect="1" noChangeArrowheads="1"/>
            </p:cNvSpPr>
            <p:nvPr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6" name="Oval 188"/>
            <p:cNvSpPr>
              <a:spLocks noChangeAspect="1" noChangeArrowheads="1"/>
            </p:cNvSpPr>
            <p:nvPr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7" name="Oval 189"/>
            <p:cNvSpPr>
              <a:spLocks noChangeAspect="1" noChangeArrowheads="1"/>
            </p:cNvSpPr>
            <p:nvPr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8" name="Oval 190"/>
            <p:cNvSpPr>
              <a:spLocks noChangeAspect="1" noChangeArrowheads="1"/>
            </p:cNvSpPr>
            <p:nvPr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9" name="Oval 191"/>
            <p:cNvSpPr>
              <a:spLocks noChangeAspect="1" noChangeArrowheads="1"/>
            </p:cNvSpPr>
            <p:nvPr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0" name="Oval 192"/>
            <p:cNvSpPr>
              <a:spLocks noChangeAspect="1" noChangeArrowheads="1"/>
            </p:cNvSpPr>
            <p:nvPr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1" name="Oval 193"/>
            <p:cNvSpPr>
              <a:spLocks noChangeAspect="1" noChangeArrowheads="1"/>
            </p:cNvSpPr>
            <p:nvPr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2" name="Oval 194"/>
            <p:cNvSpPr>
              <a:spLocks noChangeAspect="1" noChangeArrowheads="1"/>
            </p:cNvSpPr>
            <p:nvPr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3" name="Oval 195"/>
            <p:cNvSpPr>
              <a:spLocks noChangeAspect="1" noChangeArrowheads="1"/>
            </p:cNvSpPr>
            <p:nvPr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4" name="Oval 196"/>
            <p:cNvSpPr>
              <a:spLocks noChangeAspect="1" noChangeArrowheads="1"/>
            </p:cNvSpPr>
            <p:nvPr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5" name="Oval 197"/>
            <p:cNvSpPr>
              <a:spLocks noChangeAspect="1" noChangeArrowheads="1"/>
            </p:cNvSpPr>
            <p:nvPr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6" name="Oval 198"/>
            <p:cNvSpPr>
              <a:spLocks noChangeAspect="1" noChangeArrowheads="1"/>
            </p:cNvSpPr>
            <p:nvPr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7" name="Oval 199"/>
            <p:cNvSpPr>
              <a:spLocks noChangeAspect="1" noChangeArrowheads="1"/>
            </p:cNvSpPr>
            <p:nvPr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8" name="Oval 200"/>
            <p:cNvSpPr>
              <a:spLocks noChangeAspect="1" noChangeArrowheads="1"/>
            </p:cNvSpPr>
            <p:nvPr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9" name="Oval 201"/>
            <p:cNvSpPr>
              <a:spLocks noChangeAspect="1" noChangeArrowheads="1"/>
            </p:cNvSpPr>
            <p:nvPr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0" name="Oval 202"/>
            <p:cNvSpPr>
              <a:spLocks noChangeAspect="1" noChangeArrowheads="1"/>
            </p:cNvSpPr>
            <p:nvPr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1" name="Oval 203"/>
            <p:cNvSpPr>
              <a:spLocks noChangeAspect="1" noChangeArrowheads="1"/>
            </p:cNvSpPr>
            <p:nvPr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2" name="Oval 204"/>
            <p:cNvSpPr>
              <a:spLocks noChangeAspect="1" noChangeArrowheads="1"/>
            </p:cNvSpPr>
            <p:nvPr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3" name="Oval 205"/>
            <p:cNvSpPr>
              <a:spLocks noChangeAspect="1" noChangeArrowheads="1"/>
            </p:cNvSpPr>
            <p:nvPr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4" name="Oval 206"/>
            <p:cNvSpPr>
              <a:spLocks noChangeAspect="1" noChangeArrowheads="1"/>
            </p:cNvSpPr>
            <p:nvPr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5" name="Oval 207"/>
            <p:cNvSpPr>
              <a:spLocks noChangeAspect="1" noChangeArrowheads="1"/>
            </p:cNvSpPr>
            <p:nvPr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6" name="Oval 208"/>
            <p:cNvSpPr>
              <a:spLocks noChangeAspect="1" noChangeArrowheads="1"/>
            </p:cNvSpPr>
            <p:nvPr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7" name="Oval 209"/>
            <p:cNvSpPr>
              <a:spLocks noChangeAspect="1" noChangeArrowheads="1"/>
            </p:cNvSpPr>
            <p:nvPr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8" name="Oval 210"/>
            <p:cNvSpPr>
              <a:spLocks noChangeAspect="1" noChangeArrowheads="1"/>
            </p:cNvSpPr>
            <p:nvPr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9" name="Oval 211"/>
            <p:cNvSpPr>
              <a:spLocks noChangeAspect="1" noChangeArrowheads="1"/>
            </p:cNvSpPr>
            <p:nvPr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0" name="Oval 212"/>
            <p:cNvSpPr>
              <a:spLocks noChangeAspect="1" noChangeArrowheads="1"/>
            </p:cNvSpPr>
            <p:nvPr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1" name="Oval 213"/>
            <p:cNvSpPr>
              <a:spLocks noChangeAspect="1" noChangeArrowheads="1"/>
            </p:cNvSpPr>
            <p:nvPr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2" name="Oval 214"/>
            <p:cNvSpPr>
              <a:spLocks noChangeAspect="1" noChangeArrowheads="1"/>
            </p:cNvSpPr>
            <p:nvPr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3" name="Oval 215"/>
            <p:cNvSpPr>
              <a:spLocks noChangeAspect="1" noChangeArrowheads="1"/>
            </p:cNvSpPr>
            <p:nvPr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4" name="Oval 216"/>
            <p:cNvSpPr>
              <a:spLocks noChangeAspect="1" noChangeArrowheads="1"/>
            </p:cNvSpPr>
            <p:nvPr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5" name="Oval 217"/>
            <p:cNvSpPr>
              <a:spLocks noChangeAspect="1" noChangeArrowheads="1"/>
            </p:cNvSpPr>
            <p:nvPr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6" name="Oval 218"/>
            <p:cNvSpPr>
              <a:spLocks noChangeAspect="1" noChangeArrowheads="1"/>
            </p:cNvSpPr>
            <p:nvPr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7" name="Oval 219"/>
            <p:cNvSpPr>
              <a:spLocks noChangeAspect="1" noChangeArrowheads="1"/>
            </p:cNvSpPr>
            <p:nvPr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8" name="Oval 220"/>
            <p:cNvSpPr>
              <a:spLocks noChangeAspect="1" noChangeArrowheads="1"/>
            </p:cNvSpPr>
            <p:nvPr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9" name="Oval 221"/>
            <p:cNvSpPr>
              <a:spLocks noChangeAspect="1" noChangeArrowheads="1"/>
            </p:cNvSpPr>
            <p:nvPr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0" name="Oval 222"/>
            <p:cNvSpPr>
              <a:spLocks noChangeAspect="1" noChangeArrowheads="1"/>
            </p:cNvSpPr>
            <p:nvPr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1" name="Oval 223"/>
            <p:cNvSpPr>
              <a:spLocks noChangeAspect="1" noChangeArrowheads="1"/>
            </p:cNvSpPr>
            <p:nvPr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2" name="Oval 224"/>
            <p:cNvSpPr>
              <a:spLocks noChangeAspect="1" noChangeArrowheads="1"/>
            </p:cNvSpPr>
            <p:nvPr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3" name="Oval 225"/>
            <p:cNvSpPr>
              <a:spLocks noChangeAspect="1" noChangeArrowheads="1"/>
            </p:cNvSpPr>
            <p:nvPr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4" name="Oval 226"/>
            <p:cNvSpPr>
              <a:spLocks noChangeAspect="1" noChangeArrowheads="1"/>
            </p:cNvSpPr>
            <p:nvPr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5" name="Oval 227"/>
            <p:cNvSpPr>
              <a:spLocks noChangeAspect="1" noChangeArrowheads="1"/>
            </p:cNvSpPr>
            <p:nvPr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6" name="Oval 228"/>
            <p:cNvSpPr>
              <a:spLocks noChangeAspect="1" noChangeArrowheads="1"/>
            </p:cNvSpPr>
            <p:nvPr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7" name="Oval 229"/>
            <p:cNvSpPr>
              <a:spLocks noChangeAspect="1" noChangeArrowheads="1"/>
            </p:cNvSpPr>
            <p:nvPr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8" name="Oval 230"/>
            <p:cNvSpPr>
              <a:spLocks noChangeAspect="1" noChangeArrowheads="1"/>
            </p:cNvSpPr>
            <p:nvPr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9" name="Oval 231"/>
            <p:cNvSpPr>
              <a:spLocks noChangeAspect="1" noChangeArrowheads="1"/>
            </p:cNvSpPr>
            <p:nvPr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0" name="Oval 232"/>
            <p:cNvSpPr>
              <a:spLocks noChangeAspect="1" noChangeArrowheads="1"/>
            </p:cNvSpPr>
            <p:nvPr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1" name="Oval 233"/>
            <p:cNvSpPr>
              <a:spLocks noChangeAspect="1" noChangeArrowheads="1"/>
            </p:cNvSpPr>
            <p:nvPr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2" name="Oval 234"/>
            <p:cNvSpPr>
              <a:spLocks noChangeAspect="1" noChangeArrowheads="1"/>
            </p:cNvSpPr>
            <p:nvPr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3" name="Oval 235"/>
            <p:cNvSpPr>
              <a:spLocks noChangeAspect="1" noChangeArrowheads="1"/>
            </p:cNvSpPr>
            <p:nvPr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4" name="Oval 236"/>
            <p:cNvSpPr>
              <a:spLocks noChangeAspect="1" noChangeArrowheads="1"/>
            </p:cNvSpPr>
            <p:nvPr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5" name="Oval 237"/>
            <p:cNvSpPr>
              <a:spLocks noChangeAspect="1" noChangeArrowheads="1"/>
            </p:cNvSpPr>
            <p:nvPr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6" name="Oval 238"/>
            <p:cNvSpPr>
              <a:spLocks noChangeAspect="1" noChangeArrowheads="1"/>
            </p:cNvSpPr>
            <p:nvPr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7" name="Oval 239"/>
            <p:cNvSpPr>
              <a:spLocks noChangeAspect="1" noChangeArrowheads="1"/>
            </p:cNvSpPr>
            <p:nvPr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8" name="Oval 240"/>
            <p:cNvSpPr>
              <a:spLocks noChangeAspect="1" noChangeArrowheads="1"/>
            </p:cNvSpPr>
            <p:nvPr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9" name="Oval 241"/>
            <p:cNvSpPr>
              <a:spLocks noChangeAspect="1" noChangeArrowheads="1"/>
            </p:cNvSpPr>
            <p:nvPr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0" name="Oval 242"/>
            <p:cNvSpPr>
              <a:spLocks noChangeAspect="1" noChangeArrowheads="1"/>
            </p:cNvSpPr>
            <p:nvPr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1" name="Oval 243"/>
            <p:cNvSpPr>
              <a:spLocks noChangeAspect="1" noChangeArrowheads="1"/>
            </p:cNvSpPr>
            <p:nvPr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2" name="Oval 244"/>
            <p:cNvSpPr>
              <a:spLocks noChangeAspect="1" noChangeArrowheads="1"/>
            </p:cNvSpPr>
            <p:nvPr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3" name="Oval 245"/>
            <p:cNvSpPr>
              <a:spLocks noChangeAspect="1" noChangeArrowheads="1"/>
            </p:cNvSpPr>
            <p:nvPr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4" name="Oval 246"/>
            <p:cNvSpPr>
              <a:spLocks noChangeAspect="1" noChangeArrowheads="1"/>
            </p:cNvSpPr>
            <p:nvPr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5" name="Oval 247"/>
            <p:cNvSpPr>
              <a:spLocks noChangeAspect="1" noChangeArrowheads="1"/>
            </p:cNvSpPr>
            <p:nvPr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6" name="Oval 248"/>
            <p:cNvSpPr>
              <a:spLocks noChangeAspect="1" noChangeArrowheads="1"/>
            </p:cNvSpPr>
            <p:nvPr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7" name="Oval 249"/>
            <p:cNvSpPr>
              <a:spLocks noChangeAspect="1" noChangeArrowheads="1"/>
            </p:cNvSpPr>
            <p:nvPr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8" name="Oval 250"/>
            <p:cNvSpPr>
              <a:spLocks noChangeAspect="1" noChangeArrowheads="1"/>
            </p:cNvSpPr>
            <p:nvPr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9" name="Oval 251"/>
            <p:cNvSpPr>
              <a:spLocks noChangeAspect="1" noChangeArrowheads="1"/>
            </p:cNvSpPr>
            <p:nvPr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0" name="Oval 252"/>
            <p:cNvSpPr>
              <a:spLocks noChangeAspect="1" noChangeArrowheads="1"/>
            </p:cNvSpPr>
            <p:nvPr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1" name="Oval 253"/>
            <p:cNvSpPr>
              <a:spLocks noChangeAspect="1" noChangeArrowheads="1"/>
            </p:cNvSpPr>
            <p:nvPr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2" name="Oval 254"/>
            <p:cNvSpPr>
              <a:spLocks noChangeAspect="1" noChangeArrowheads="1"/>
            </p:cNvSpPr>
            <p:nvPr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3" name="Oval 255"/>
            <p:cNvSpPr>
              <a:spLocks noChangeAspect="1" noChangeArrowheads="1"/>
            </p:cNvSpPr>
            <p:nvPr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4" name="Oval 256"/>
            <p:cNvSpPr>
              <a:spLocks noChangeAspect="1" noChangeArrowheads="1"/>
            </p:cNvSpPr>
            <p:nvPr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5" name="Oval 257"/>
            <p:cNvSpPr>
              <a:spLocks noChangeAspect="1" noChangeArrowheads="1"/>
            </p:cNvSpPr>
            <p:nvPr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6" name="Oval 258"/>
            <p:cNvSpPr>
              <a:spLocks noChangeAspect="1" noChangeArrowheads="1"/>
            </p:cNvSpPr>
            <p:nvPr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7" name="Oval 259"/>
            <p:cNvSpPr>
              <a:spLocks noChangeAspect="1" noChangeArrowheads="1"/>
            </p:cNvSpPr>
            <p:nvPr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8" name="Oval 260"/>
            <p:cNvSpPr>
              <a:spLocks noChangeAspect="1" noChangeArrowheads="1"/>
            </p:cNvSpPr>
            <p:nvPr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9" name="Oval 261"/>
            <p:cNvSpPr>
              <a:spLocks noChangeAspect="1" noChangeArrowheads="1"/>
            </p:cNvSpPr>
            <p:nvPr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0" name="Oval 262"/>
            <p:cNvSpPr>
              <a:spLocks noChangeAspect="1" noChangeArrowheads="1"/>
            </p:cNvSpPr>
            <p:nvPr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1" name="Oval 263"/>
            <p:cNvSpPr>
              <a:spLocks noChangeAspect="1" noChangeArrowheads="1"/>
            </p:cNvSpPr>
            <p:nvPr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2" name="Oval 264"/>
            <p:cNvSpPr>
              <a:spLocks noChangeAspect="1" noChangeArrowheads="1"/>
            </p:cNvSpPr>
            <p:nvPr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3" name="Oval 265"/>
            <p:cNvSpPr>
              <a:spLocks noChangeAspect="1" noChangeArrowheads="1"/>
            </p:cNvSpPr>
            <p:nvPr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4" name="Oval 266"/>
            <p:cNvSpPr>
              <a:spLocks noChangeAspect="1" noChangeArrowheads="1"/>
            </p:cNvSpPr>
            <p:nvPr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5" name="Oval 267"/>
            <p:cNvSpPr>
              <a:spLocks noChangeAspect="1" noChangeArrowheads="1"/>
            </p:cNvSpPr>
            <p:nvPr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6" name="Oval 268"/>
            <p:cNvSpPr>
              <a:spLocks noChangeAspect="1" noChangeArrowheads="1"/>
            </p:cNvSpPr>
            <p:nvPr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7" name="Oval 269"/>
            <p:cNvSpPr>
              <a:spLocks noChangeAspect="1" noChangeArrowheads="1"/>
            </p:cNvSpPr>
            <p:nvPr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8" name="Oval 270"/>
            <p:cNvSpPr>
              <a:spLocks noChangeAspect="1" noChangeArrowheads="1"/>
            </p:cNvSpPr>
            <p:nvPr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9" name="Oval 271"/>
            <p:cNvSpPr>
              <a:spLocks noChangeAspect="1" noChangeArrowheads="1"/>
            </p:cNvSpPr>
            <p:nvPr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0" name="Oval 272"/>
            <p:cNvSpPr>
              <a:spLocks noChangeAspect="1" noChangeArrowheads="1"/>
            </p:cNvSpPr>
            <p:nvPr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1" name="Oval 273"/>
            <p:cNvSpPr>
              <a:spLocks noChangeAspect="1" noChangeArrowheads="1"/>
            </p:cNvSpPr>
            <p:nvPr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2" name="Oval 274"/>
            <p:cNvSpPr>
              <a:spLocks noChangeAspect="1" noChangeArrowheads="1"/>
            </p:cNvSpPr>
            <p:nvPr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3" name="Oval 275"/>
            <p:cNvSpPr>
              <a:spLocks noChangeAspect="1" noChangeArrowheads="1"/>
            </p:cNvSpPr>
            <p:nvPr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4" name="Oval 276"/>
            <p:cNvSpPr>
              <a:spLocks noChangeAspect="1" noChangeArrowheads="1"/>
            </p:cNvSpPr>
            <p:nvPr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5" name="Oval 277"/>
            <p:cNvSpPr>
              <a:spLocks noChangeAspect="1" noChangeArrowheads="1"/>
            </p:cNvSpPr>
            <p:nvPr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6" name="Oval 278"/>
            <p:cNvSpPr>
              <a:spLocks noChangeAspect="1" noChangeArrowheads="1"/>
            </p:cNvSpPr>
            <p:nvPr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7" name="Oval 279"/>
            <p:cNvSpPr>
              <a:spLocks noChangeAspect="1" noChangeArrowheads="1"/>
            </p:cNvSpPr>
            <p:nvPr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8" name="Oval 280"/>
            <p:cNvSpPr>
              <a:spLocks noChangeAspect="1" noChangeArrowheads="1"/>
            </p:cNvSpPr>
            <p:nvPr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9" name="Oval 281"/>
            <p:cNvSpPr>
              <a:spLocks noChangeAspect="1" noChangeArrowheads="1"/>
            </p:cNvSpPr>
            <p:nvPr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0" name="Oval 282"/>
            <p:cNvSpPr>
              <a:spLocks noChangeAspect="1" noChangeArrowheads="1"/>
            </p:cNvSpPr>
            <p:nvPr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1" name="Oval 283"/>
            <p:cNvSpPr>
              <a:spLocks noChangeAspect="1" noChangeArrowheads="1"/>
            </p:cNvSpPr>
            <p:nvPr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2" name="Oval 284"/>
            <p:cNvSpPr>
              <a:spLocks noChangeAspect="1" noChangeArrowheads="1"/>
            </p:cNvSpPr>
            <p:nvPr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3" name="Oval 285"/>
            <p:cNvSpPr>
              <a:spLocks noChangeAspect="1" noChangeArrowheads="1"/>
            </p:cNvSpPr>
            <p:nvPr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4" name="Oval 286"/>
            <p:cNvSpPr>
              <a:spLocks noChangeAspect="1" noChangeArrowheads="1"/>
            </p:cNvSpPr>
            <p:nvPr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5" name="Oval 287"/>
            <p:cNvSpPr>
              <a:spLocks noChangeAspect="1" noChangeArrowheads="1"/>
            </p:cNvSpPr>
            <p:nvPr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6" name="Oval 288"/>
            <p:cNvSpPr>
              <a:spLocks noChangeAspect="1" noChangeArrowheads="1"/>
            </p:cNvSpPr>
            <p:nvPr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7" name="Oval 289"/>
            <p:cNvSpPr>
              <a:spLocks noChangeAspect="1" noChangeArrowheads="1"/>
            </p:cNvSpPr>
            <p:nvPr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8" name="Oval 290"/>
            <p:cNvSpPr>
              <a:spLocks noChangeAspect="1" noChangeArrowheads="1"/>
            </p:cNvSpPr>
            <p:nvPr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9" name="Oval 291"/>
            <p:cNvSpPr>
              <a:spLocks noChangeAspect="1" noChangeArrowheads="1"/>
            </p:cNvSpPr>
            <p:nvPr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0" name="Oval 292"/>
            <p:cNvSpPr>
              <a:spLocks noChangeAspect="1" noChangeArrowheads="1"/>
            </p:cNvSpPr>
            <p:nvPr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1" name="Oval 293"/>
            <p:cNvSpPr>
              <a:spLocks noChangeAspect="1" noChangeArrowheads="1"/>
            </p:cNvSpPr>
            <p:nvPr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2" name="Oval 294"/>
            <p:cNvSpPr>
              <a:spLocks noChangeAspect="1" noChangeArrowheads="1"/>
            </p:cNvSpPr>
            <p:nvPr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3" name="Oval 295"/>
            <p:cNvSpPr>
              <a:spLocks noChangeAspect="1" noChangeArrowheads="1"/>
            </p:cNvSpPr>
            <p:nvPr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4" name="Oval 296"/>
            <p:cNvSpPr>
              <a:spLocks noChangeAspect="1" noChangeArrowheads="1"/>
            </p:cNvSpPr>
            <p:nvPr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5" name="Oval 297"/>
            <p:cNvSpPr>
              <a:spLocks noChangeAspect="1" noChangeArrowheads="1"/>
            </p:cNvSpPr>
            <p:nvPr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6" name="Oval 298"/>
            <p:cNvSpPr>
              <a:spLocks noChangeAspect="1" noChangeArrowheads="1"/>
            </p:cNvSpPr>
            <p:nvPr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7" name="Oval 299"/>
            <p:cNvSpPr>
              <a:spLocks noChangeAspect="1" noChangeArrowheads="1"/>
            </p:cNvSpPr>
            <p:nvPr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8" name="Oval 300"/>
            <p:cNvSpPr>
              <a:spLocks noChangeAspect="1" noChangeArrowheads="1"/>
            </p:cNvSpPr>
            <p:nvPr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9" name="Oval 301"/>
            <p:cNvSpPr>
              <a:spLocks noChangeAspect="1" noChangeArrowheads="1"/>
            </p:cNvSpPr>
            <p:nvPr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0" name="Oval 302"/>
            <p:cNvSpPr>
              <a:spLocks noChangeAspect="1" noChangeArrowheads="1"/>
            </p:cNvSpPr>
            <p:nvPr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1" name="Oval 303"/>
            <p:cNvSpPr>
              <a:spLocks noChangeAspect="1" noChangeArrowheads="1"/>
            </p:cNvSpPr>
            <p:nvPr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2" name="Oval 304"/>
            <p:cNvSpPr>
              <a:spLocks noChangeAspect="1" noChangeArrowheads="1"/>
            </p:cNvSpPr>
            <p:nvPr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3" name="Oval 305"/>
            <p:cNvSpPr>
              <a:spLocks noChangeAspect="1" noChangeArrowheads="1"/>
            </p:cNvSpPr>
            <p:nvPr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4" name="Oval 306"/>
            <p:cNvSpPr>
              <a:spLocks noChangeAspect="1" noChangeArrowheads="1"/>
            </p:cNvSpPr>
            <p:nvPr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5" name="Oval 307"/>
            <p:cNvSpPr>
              <a:spLocks noChangeAspect="1" noChangeArrowheads="1"/>
            </p:cNvSpPr>
            <p:nvPr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6" name="Oval 308"/>
            <p:cNvSpPr>
              <a:spLocks noChangeAspect="1" noChangeArrowheads="1"/>
            </p:cNvSpPr>
            <p:nvPr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7" name="Oval 309"/>
            <p:cNvSpPr>
              <a:spLocks noChangeAspect="1" noChangeArrowheads="1"/>
            </p:cNvSpPr>
            <p:nvPr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8" name="Oval 310"/>
            <p:cNvSpPr>
              <a:spLocks noChangeAspect="1" noChangeArrowheads="1"/>
            </p:cNvSpPr>
            <p:nvPr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9" name="Oval 311"/>
            <p:cNvSpPr>
              <a:spLocks noChangeAspect="1" noChangeArrowheads="1"/>
            </p:cNvSpPr>
            <p:nvPr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0" name="Oval 312"/>
            <p:cNvSpPr>
              <a:spLocks noChangeAspect="1" noChangeArrowheads="1"/>
            </p:cNvSpPr>
            <p:nvPr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1" name="Oval 313"/>
            <p:cNvSpPr>
              <a:spLocks noChangeAspect="1" noChangeArrowheads="1"/>
            </p:cNvSpPr>
            <p:nvPr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2" name="Oval 314"/>
            <p:cNvSpPr>
              <a:spLocks noChangeAspect="1" noChangeArrowheads="1"/>
            </p:cNvSpPr>
            <p:nvPr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3" name="Oval 315"/>
            <p:cNvSpPr>
              <a:spLocks noChangeAspect="1" noChangeArrowheads="1"/>
            </p:cNvSpPr>
            <p:nvPr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4" name="Oval 316"/>
            <p:cNvSpPr>
              <a:spLocks noChangeAspect="1" noChangeArrowheads="1"/>
            </p:cNvSpPr>
            <p:nvPr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5" name="Oval 317"/>
            <p:cNvSpPr>
              <a:spLocks noChangeAspect="1" noChangeArrowheads="1"/>
            </p:cNvSpPr>
            <p:nvPr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6" name="Oval 318"/>
            <p:cNvSpPr>
              <a:spLocks noChangeAspect="1" noChangeArrowheads="1"/>
            </p:cNvSpPr>
            <p:nvPr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7" name="Oval 319"/>
            <p:cNvSpPr>
              <a:spLocks noChangeAspect="1" noChangeArrowheads="1"/>
            </p:cNvSpPr>
            <p:nvPr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8" name="Oval 320"/>
            <p:cNvSpPr>
              <a:spLocks noChangeAspect="1" noChangeArrowheads="1"/>
            </p:cNvSpPr>
            <p:nvPr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9" name="Oval 321"/>
            <p:cNvSpPr>
              <a:spLocks noChangeAspect="1" noChangeArrowheads="1"/>
            </p:cNvSpPr>
            <p:nvPr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0" name="Oval 322"/>
            <p:cNvSpPr>
              <a:spLocks noChangeAspect="1" noChangeArrowheads="1"/>
            </p:cNvSpPr>
            <p:nvPr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1" name="Oval 323"/>
            <p:cNvSpPr>
              <a:spLocks noChangeAspect="1" noChangeArrowheads="1"/>
            </p:cNvSpPr>
            <p:nvPr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2" name="Oval 324"/>
            <p:cNvSpPr>
              <a:spLocks noChangeAspect="1" noChangeArrowheads="1"/>
            </p:cNvSpPr>
            <p:nvPr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3" name="Oval 325"/>
            <p:cNvSpPr>
              <a:spLocks noChangeAspect="1" noChangeArrowheads="1"/>
            </p:cNvSpPr>
            <p:nvPr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4" name="Oval 326"/>
            <p:cNvSpPr>
              <a:spLocks noChangeAspect="1" noChangeArrowheads="1"/>
            </p:cNvSpPr>
            <p:nvPr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5" name="Oval 327"/>
            <p:cNvSpPr>
              <a:spLocks noChangeAspect="1" noChangeArrowheads="1"/>
            </p:cNvSpPr>
            <p:nvPr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6" name="Oval 328"/>
            <p:cNvSpPr>
              <a:spLocks noChangeAspect="1" noChangeArrowheads="1"/>
            </p:cNvSpPr>
            <p:nvPr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7" name="Oval 329"/>
            <p:cNvSpPr>
              <a:spLocks noChangeAspect="1" noChangeArrowheads="1"/>
            </p:cNvSpPr>
            <p:nvPr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8" name="Oval 330"/>
            <p:cNvSpPr>
              <a:spLocks noChangeAspect="1" noChangeArrowheads="1"/>
            </p:cNvSpPr>
            <p:nvPr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9" name="Oval 331"/>
            <p:cNvSpPr>
              <a:spLocks noChangeAspect="1" noChangeArrowheads="1"/>
            </p:cNvSpPr>
            <p:nvPr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0" name="Oval 332"/>
            <p:cNvSpPr>
              <a:spLocks noChangeAspect="1" noChangeArrowheads="1"/>
            </p:cNvSpPr>
            <p:nvPr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1" name="Oval 333"/>
            <p:cNvSpPr>
              <a:spLocks noChangeAspect="1" noChangeArrowheads="1"/>
            </p:cNvSpPr>
            <p:nvPr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2" name="Oval 334"/>
            <p:cNvSpPr>
              <a:spLocks noChangeAspect="1" noChangeArrowheads="1"/>
            </p:cNvSpPr>
            <p:nvPr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3" name="Oval 335"/>
            <p:cNvSpPr>
              <a:spLocks noChangeAspect="1" noChangeArrowheads="1"/>
            </p:cNvSpPr>
            <p:nvPr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4" name="Oval 336"/>
            <p:cNvSpPr>
              <a:spLocks noChangeAspect="1" noChangeArrowheads="1"/>
            </p:cNvSpPr>
            <p:nvPr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5" name="Oval 337"/>
            <p:cNvSpPr>
              <a:spLocks noChangeAspect="1" noChangeArrowheads="1"/>
            </p:cNvSpPr>
            <p:nvPr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6" name="Oval 338"/>
            <p:cNvSpPr>
              <a:spLocks noChangeAspect="1" noChangeArrowheads="1"/>
            </p:cNvSpPr>
            <p:nvPr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7" name="Oval 339"/>
            <p:cNvSpPr>
              <a:spLocks noChangeAspect="1" noChangeArrowheads="1"/>
            </p:cNvSpPr>
            <p:nvPr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8" name="Oval 340"/>
            <p:cNvSpPr>
              <a:spLocks noChangeAspect="1" noChangeArrowheads="1"/>
            </p:cNvSpPr>
            <p:nvPr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9" name="Oval 341"/>
            <p:cNvSpPr>
              <a:spLocks noChangeAspect="1" noChangeArrowheads="1"/>
            </p:cNvSpPr>
            <p:nvPr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0" name="Oval 342"/>
            <p:cNvSpPr>
              <a:spLocks noChangeAspect="1" noChangeArrowheads="1"/>
            </p:cNvSpPr>
            <p:nvPr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1" name="Oval 343"/>
            <p:cNvSpPr>
              <a:spLocks noChangeAspect="1" noChangeArrowheads="1"/>
            </p:cNvSpPr>
            <p:nvPr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2" name="Oval 344"/>
            <p:cNvSpPr>
              <a:spLocks noChangeAspect="1" noChangeArrowheads="1"/>
            </p:cNvSpPr>
            <p:nvPr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3" name="Oval 345"/>
            <p:cNvSpPr>
              <a:spLocks noChangeAspect="1" noChangeArrowheads="1"/>
            </p:cNvSpPr>
            <p:nvPr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4" name="Oval 346"/>
            <p:cNvSpPr>
              <a:spLocks noChangeAspect="1" noChangeArrowheads="1"/>
            </p:cNvSpPr>
            <p:nvPr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5" name="Oval 347"/>
            <p:cNvSpPr>
              <a:spLocks noChangeAspect="1" noChangeArrowheads="1"/>
            </p:cNvSpPr>
            <p:nvPr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6" name="Oval 348"/>
            <p:cNvSpPr>
              <a:spLocks noChangeAspect="1" noChangeArrowheads="1"/>
            </p:cNvSpPr>
            <p:nvPr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7" name="Oval 349"/>
            <p:cNvSpPr>
              <a:spLocks noChangeAspect="1" noChangeArrowheads="1"/>
            </p:cNvSpPr>
            <p:nvPr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8" name="Oval 350"/>
            <p:cNvSpPr>
              <a:spLocks noChangeAspect="1" noChangeArrowheads="1"/>
            </p:cNvSpPr>
            <p:nvPr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9" name="Oval 351"/>
            <p:cNvSpPr>
              <a:spLocks noChangeAspect="1" noChangeArrowheads="1"/>
            </p:cNvSpPr>
            <p:nvPr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0" name="Oval 352"/>
            <p:cNvSpPr>
              <a:spLocks noChangeAspect="1" noChangeArrowheads="1"/>
            </p:cNvSpPr>
            <p:nvPr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1" name="Oval 353"/>
            <p:cNvSpPr>
              <a:spLocks noChangeAspect="1" noChangeArrowheads="1"/>
            </p:cNvSpPr>
            <p:nvPr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2" name="Oval 354"/>
            <p:cNvSpPr>
              <a:spLocks noChangeAspect="1" noChangeArrowheads="1"/>
            </p:cNvSpPr>
            <p:nvPr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3" name="Oval 355"/>
            <p:cNvSpPr>
              <a:spLocks noChangeAspect="1" noChangeArrowheads="1"/>
            </p:cNvSpPr>
            <p:nvPr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4" name="Oval 356"/>
            <p:cNvSpPr>
              <a:spLocks noChangeAspect="1" noChangeArrowheads="1"/>
            </p:cNvSpPr>
            <p:nvPr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5" name="Oval 357"/>
            <p:cNvSpPr>
              <a:spLocks noChangeAspect="1" noChangeArrowheads="1"/>
            </p:cNvSpPr>
            <p:nvPr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6" name="Oval 358"/>
            <p:cNvSpPr>
              <a:spLocks noChangeAspect="1" noChangeArrowheads="1"/>
            </p:cNvSpPr>
            <p:nvPr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7" name="Oval 359"/>
            <p:cNvSpPr>
              <a:spLocks noChangeAspect="1" noChangeArrowheads="1"/>
            </p:cNvSpPr>
            <p:nvPr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2988" name="Oval 360"/>
            <p:cNvSpPr>
              <a:spLocks noChangeAspect="1" noChangeArrowheads="1"/>
            </p:cNvSpPr>
            <p:nvPr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9" name="Oval 361"/>
            <p:cNvSpPr>
              <a:spLocks noChangeAspect="1" noChangeArrowheads="1"/>
            </p:cNvSpPr>
            <p:nvPr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0" name="Oval 362"/>
            <p:cNvSpPr>
              <a:spLocks noChangeAspect="1" noChangeArrowheads="1"/>
            </p:cNvSpPr>
            <p:nvPr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1" name="Oval 363"/>
            <p:cNvSpPr>
              <a:spLocks noChangeAspect="1" noChangeArrowheads="1"/>
            </p:cNvSpPr>
            <p:nvPr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2" name="Oval 364"/>
            <p:cNvSpPr>
              <a:spLocks noChangeAspect="1" noChangeArrowheads="1"/>
            </p:cNvSpPr>
            <p:nvPr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3" name="Oval 365"/>
            <p:cNvSpPr>
              <a:spLocks noChangeAspect="1" noChangeArrowheads="1"/>
            </p:cNvSpPr>
            <p:nvPr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4" name="Oval 366"/>
            <p:cNvSpPr>
              <a:spLocks noChangeAspect="1" noChangeArrowheads="1"/>
            </p:cNvSpPr>
            <p:nvPr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5" name="Oval 367"/>
            <p:cNvSpPr>
              <a:spLocks noChangeAspect="1" noChangeArrowheads="1"/>
            </p:cNvSpPr>
            <p:nvPr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6" name="Oval 368"/>
            <p:cNvSpPr>
              <a:spLocks noChangeAspect="1" noChangeArrowheads="1"/>
            </p:cNvSpPr>
            <p:nvPr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7" name="Oval 369"/>
            <p:cNvSpPr>
              <a:spLocks noChangeAspect="1" noChangeArrowheads="1"/>
            </p:cNvSpPr>
            <p:nvPr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8" name="Oval 370"/>
            <p:cNvSpPr>
              <a:spLocks noChangeAspect="1" noChangeArrowheads="1"/>
            </p:cNvSpPr>
            <p:nvPr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9" name="Oval 371"/>
            <p:cNvSpPr>
              <a:spLocks noChangeAspect="1" noChangeArrowheads="1"/>
            </p:cNvSpPr>
            <p:nvPr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0" name="Oval 372"/>
            <p:cNvSpPr>
              <a:spLocks noChangeAspect="1" noChangeArrowheads="1"/>
            </p:cNvSpPr>
            <p:nvPr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1" name="Oval 373"/>
            <p:cNvSpPr>
              <a:spLocks noChangeAspect="1" noChangeArrowheads="1"/>
            </p:cNvSpPr>
            <p:nvPr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2" name="Oval 374"/>
            <p:cNvSpPr>
              <a:spLocks noChangeAspect="1" noChangeArrowheads="1"/>
            </p:cNvSpPr>
            <p:nvPr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3" name="Oval 375"/>
            <p:cNvSpPr>
              <a:spLocks noChangeAspect="1" noChangeArrowheads="1"/>
            </p:cNvSpPr>
            <p:nvPr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4" name="Oval 376"/>
            <p:cNvSpPr>
              <a:spLocks noChangeAspect="1" noChangeArrowheads="1"/>
            </p:cNvSpPr>
            <p:nvPr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5" name="Oval 377"/>
            <p:cNvSpPr>
              <a:spLocks noChangeAspect="1" noChangeArrowheads="1"/>
            </p:cNvSpPr>
            <p:nvPr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6" name="Oval 378"/>
            <p:cNvSpPr>
              <a:spLocks noChangeAspect="1" noChangeArrowheads="1"/>
            </p:cNvSpPr>
            <p:nvPr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7" name="Oval 379"/>
            <p:cNvSpPr>
              <a:spLocks noChangeAspect="1" noChangeArrowheads="1"/>
            </p:cNvSpPr>
            <p:nvPr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8" name="Oval 380"/>
            <p:cNvSpPr>
              <a:spLocks noChangeAspect="1" noChangeArrowheads="1"/>
            </p:cNvSpPr>
            <p:nvPr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9" name="Oval 381"/>
            <p:cNvSpPr>
              <a:spLocks noChangeAspect="1" noChangeArrowheads="1"/>
            </p:cNvSpPr>
            <p:nvPr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0" name="Oval 382"/>
            <p:cNvSpPr>
              <a:spLocks noChangeAspect="1" noChangeArrowheads="1"/>
            </p:cNvSpPr>
            <p:nvPr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1" name="Oval 383"/>
            <p:cNvSpPr>
              <a:spLocks noChangeAspect="1" noChangeArrowheads="1"/>
            </p:cNvSpPr>
            <p:nvPr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2" name="Oval 384"/>
            <p:cNvSpPr>
              <a:spLocks noChangeAspect="1" noChangeArrowheads="1"/>
            </p:cNvSpPr>
            <p:nvPr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3" name="Oval 385"/>
            <p:cNvSpPr>
              <a:spLocks noChangeAspect="1" noChangeArrowheads="1"/>
            </p:cNvSpPr>
            <p:nvPr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4" name="Oval 386"/>
            <p:cNvSpPr>
              <a:spLocks noChangeAspect="1" noChangeArrowheads="1"/>
            </p:cNvSpPr>
            <p:nvPr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5" name="Oval 387"/>
            <p:cNvSpPr>
              <a:spLocks noChangeAspect="1" noChangeArrowheads="1"/>
            </p:cNvSpPr>
            <p:nvPr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6" name="Oval 388"/>
            <p:cNvSpPr>
              <a:spLocks noChangeAspect="1" noChangeArrowheads="1"/>
            </p:cNvSpPr>
            <p:nvPr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7" name="Oval 389"/>
            <p:cNvSpPr>
              <a:spLocks noChangeAspect="1" noChangeArrowheads="1"/>
            </p:cNvSpPr>
            <p:nvPr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8" name="Oval 390"/>
            <p:cNvSpPr>
              <a:spLocks noChangeAspect="1" noChangeArrowheads="1"/>
            </p:cNvSpPr>
            <p:nvPr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9" name="Oval 391"/>
            <p:cNvSpPr>
              <a:spLocks noChangeAspect="1" noChangeArrowheads="1"/>
            </p:cNvSpPr>
            <p:nvPr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0" name="Oval 392"/>
            <p:cNvSpPr>
              <a:spLocks noChangeAspect="1" noChangeArrowheads="1"/>
            </p:cNvSpPr>
            <p:nvPr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1" name="Oval 393"/>
            <p:cNvSpPr>
              <a:spLocks noChangeAspect="1" noChangeArrowheads="1"/>
            </p:cNvSpPr>
            <p:nvPr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2" name="Oval 394"/>
            <p:cNvSpPr>
              <a:spLocks noChangeAspect="1" noChangeArrowheads="1"/>
            </p:cNvSpPr>
            <p:nvPr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3" name="Oval 395"/>
            <p:cNvSpPr>
              <a:spLocks noChangeAspect="1" noChangeArrowheads="1"/>
            </p:cNvSpPr>
            <p:nvPr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4" name="Oval 396"/>
            <p:cNvSpPr>
              <a:spLocks noChangeAspect="1" noChangeArrowheads="1"/>
            </p:cNvSpPr>
            <p:nvPr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5" name="Oval 397"/>
            <p:cNvSpPr>
              <a:spLocks noChangeAspect="1" noChangeArrowheads="1"/>
            </p:cNvSpPr>
            <p:nvPr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6" name="Oval 398"/>
            <p:cNvSpPr>
              <a:spLocks noChangeAspect="1" noChangeArrowheads="1"/>
            </p:cNvSpPr>
            <p:nvPr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7" name="Oval 399"/>
            <p:cNvSpPr>
              <a:spLocks noChangeAspect="1" noChangeArrowheads="1"/>
            </p:cNvSpPr>
            <p:nvPr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8" name="Oval 400"/>
            <p:cNvSpPr>
              <a:spLocks noChangeAspect="1" noChangeArrowheads="1"/>
            </p:cNvSpPr>
            <p:nvPr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9" name="Oval 401"/>
            <p:cNvSpPr>
              <a:spLocks noChangeAspect="1" noChangeArrowheads="1"/>
            </p:cNvSpPr>
            <p:nvPr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0" name="Oval 402"/>
            <p:cNvSpPr>
              <a:spLocks noChangeAspect="1" noChangeArrowheads="1"/>
            </p:cNvSpPr>
            <p:nvPr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1" name="Oval 403"/>
            <p:cNvSpPr>
              <a:spLocks noChangeAspect="1" noChangeArrowheads="1"/>
            </p:cNvSpPr>
            <p:nvPr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2" name="Oval 404"/>
            <p:cNvSpPr>
              <a:spLocks noChangeAspect="1" noChangeArrowheads="1"/>
            </p:cNvSpPr>
            <p:nvPr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3" name="Oval 405"/>
            <p:cNvSpPr>
              <a:spLocks noChangeAspect="1" noChangeArrowheads="1"/>
            </p:cNvSpPr>
            <p:nvPr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4" name="Oval 406"/>
            <p:cNvSpPr>
              <a:spLocks noChangeAspect="1" noChangeArrowheads="1"/>
            </p:cNvSpPr>
            <p:nvPr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5" name="Oval 407"/>
            <p:cNvSpPr>
              <a:spLocks noChangeAspect="1" noChangeArrowheads="1"/>
            </p:cNvSpPr>
            <p:nvPr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6" name="Oval 408"/>
            <p:cNvSpPr>
              <a:spLocks noChangeAspect="1" noChangeArrowheads="1"/>
            </p:cNvSpPr>
            <p:nvPr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3037" name="Oval 409"/>
            <p:cNvSpPr>
              <a:spLocks noChangeAspect="1" noChangeArrowheads="1"/>
            </p:cNvSpPr>
            <p:nvPr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8" name="Oval 410"/>
            <p:cNvSpPr>
              <a:spLocks noChangeAspect="1" noChangeArrowheads="1"/>
            </p:cNvSpPr>
            <p:nvPr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9" name="Oval 411"/>
            <p:cNvSpPr>
              <a:spLocks noChangeAspect="1" noChangeArrowheads="1"/>
            </p:cNvSpPr>
            <p:nvPr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0" name="Oval 412"/>
            <p:cNvSpPr>
              <a:spLocks noChangeAspect="1" noChangeArrowheads="1"/>
            </p:cNvSpPr>
            <p:nvPr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1" name="Oval 413"/>
            <p:cNvSpPr>
              <a:spLocks noChangeAspect="1" noChangeArrowheads="1"/>
            </p:cNvSpPr>
            <p:nvPr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2" name="Oval 414"/>
            <p:cNvSpPr>
              <a:spLocks noChangeAspect="1" noChangeArrowheads="1"/>
            </p:cNvSpPr>
            <p:nvPr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3" name="Oval 415"/>
            <p:cNvSpPr>
              <a:spLocks noChangeAspect="1" noChangeArrowheads="1"/>
            </p:cNvSpPr>
            <p:nvPr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4" name="Oval 416"/>
            <p:cNvSpPr>
              <a:spLocks noChangeAspect="1" noChangeArrowheads="1"/>
            </p:cNvSpPr>
            <p:nvPr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5" name="Oval 417"/>
            <p:cNvSpPr>
              <a:spLocks noChangeAspect="1" noChangeArrowheads="1"/>
            </p:cNvSpPr>
            <p:nvPr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6" name="Oval 418"/>
            <p:cNvSpPr>
              <a:spLocks noChangeAspect="1" noChangeArrowheads="1"/>
            </p:cNvSpPr>
            <p:nvPr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7" name="Oval 419"/>
            <p:cNvSpPr>
              <a:spLocks noChangeAspect="1" noChangeArrowheads="1"/>
            </p:cNvSpPr>
            <p:nvPr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8" name="Oval 420"/>
            <p:cNvSpPr>
              <a:spLocks noChangeAspect="1" noChangeArrowheads="1"/>
            </p:cNvSpPr>
            <p:nvPr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9" name="Oval 421"/>
            <p:cNvSpPr>
              <a:spLocks noChangeAspect="1" noChangeArrowheads="1"/>
            </p:cNvSpPr>
            <p:nvPr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0" name="Oval 422"/>
            <p:cNvSpPr>
              <a:spLocks noChangeAspect="1" noChangeArrowheads="1"/>
            </p:cNvSpPr>
            <p:nvPr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1" name="Oval 423"/>
            <p:cNvSpPr>
              <a:spLocks noChangeAspect="1" noChangeArrowheads="1"/>
            </p:cNvSpPr>
            <p:nvPr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2" name="Oval 424"/>
            <p:cNvSpPr>
              <a:spLocks noChangeAspect="1" noChangeArrowheads="1"/>
            </p:cNvSpPr>
            <p:nvPr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3" name="Oval 425"/>
            <p:cNvSpPr>
              <a:spLocks noChangeAspect="1" noChangeArrowheads="1"/>
            </p:cNvSpPr>
            <p:nvPr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4" name="Oval 426"/>
            <p:cNvSpPr>
              <a:spLocks noChangeAspect="1" noChangeArrowheads="1"/>
            </p:cNvSpPr>
            <p:nvPr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5" name="Oval 427"/>
            <p:cNvSpPr>
              <a:spLocks noChangeAspect="1" noChangeArrowheads="1"/>
            </p:cNvSpPr>
            <p:nvPr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6" name="Oval 428"/>
            <p:cNvSpPr>
              <a:spLocks noChangeAspect="1" noChangeArrowheads="1"/>
            </p:cNvSpPr>
            <p:nvPr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7" name="Oval 429"/>
            <p:cNvSpPr>
              <a:spLocks noChangeAspect="1" noChangeArrowheads="1"/>
            </p:cNvSpPr>
            <p:nvPr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8" name="Oval 430"/>
            <p:cNvSpPr>
              <a:spLocks noChangeAspect="1" noChangeArrowheads="1"/>
            </p:cNvSpPr>
            <p:nvPr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9" name="Oval 431"/>
            <p:cNvSpPr>
              <a:spLocks noChangeAspect="1" noChangeArrowheads="1"/>
            </p:cNvSpPr>
            <p:nvPr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0" name="Oval 432"/>
            <p:cNvSpPr>
              <a:spLocks noChangeAspect="1" noChangeArrowheads="1"/>
            </p:cNvSpPr>
            <p:nvPr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1" name="Oval 433"/>
            <p:cNvSpPr>
              <a:spLocks noChangeAspect="1" noChangeArrowheads="1"/>
            </p:cNvSpPr>
            <p:nvPr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2" name="Oval 434"/>
            <p:cNvSpPr>
              <a:spLocks noChangeAspect="1" noChangeArrowheads="1"/>
            </p:cNvSpPr>
            <p:nvPr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3" name="Oval 435"/>
            <p:cNvSpPr>
              <a:spLocks noChangeAspect="1" noChangeArrowheads="1"/>
            </p:cNvSpPr>
            <p:nvPr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4" name="Oval 436"/>
            <p:cNvSpPr>
              <a:spLocks noChangeAspect="1" noChangeArrowheads="1"/>
            </p:cNvSpPr>
            <p:nvPr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5" name="Oval 437"/>
            <p:cNvSpPr>
              <a:spLocks noChangeAspect="1" noChangeArrowheads="1"/>
            </p:cNvSpPr>
            <p:nvPr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6" name="Oval 438"/>
            <p:cNvSpPr>
              <a:spLocks noChangeAspect="1" noChangeArrowheads="1"/>
            </p:cNvSpPr>
            <p:nvPr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7" name="Oval 439"/>
            <p:cNvSpPr>
              <a:spLocks noChangeAspect="1" noChangeArrowheads="1"/>
            </p:cNvSpPr>
            <p:nvPr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8" name="Oval 440"/>
            <p:cNvSpPr>
              <a:spLocks noChangeAspect="1" noChangeArrowheads="1"/>
            </p:cNvSpPr>
            <p:nvPr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9" name="Oval 441"/>
            <p:cNvSpPr>
              <a:spLocks noChangeAspect="1" noChangeArrowheads="1"/>
            </p:cNvSpPr>
            <p:nvPr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0" name="Oval 442"/>
            <p:cNvSpPr>
              <a:spLocks noChangeAspect="1" noChangeArrowheads="1"/>
            </p:cNvSpPr>
            <p:nvPr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1" name="Oval 443"/>
            <p:cNvSpPr>
              <a:spLocks noChangeAspect="1" noChangeArrowheads="1"/>
            </p:cNvSpPr>
            <p:nvPr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2" name="Oval 444"/>
            <p:cNvSpPr>
              <a:spLocks noChangeAspect="1" noChangeArrowheads="1"/>
            </p:cNvSpPr>
            <p:nvPr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3" name="Oval 445"/>
            <p:cNvSpPr>
              <a:spLocks noChangeAspect="1" noChangeArrowheads="1"/>
            </p:cNvSpPr>
            <p:nvPr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4" name="Oval 446"/>
            <p:cNvSpPr>
              <a:spLocks noChangeAspect="1" noChangeArrowheads="1"/>
            </p:cNvSpPr>
            <p:nvPr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5" name="Oval 447"/>
            <p:cNvSpPr>
              <a:spLocks noChangeAspect="1" noChangeArrowheads="1"/>
            </p:cNvSpPr>
            <p:nvPr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6" name="Oval 448"/>
            <p:cNvSpPr>
              <a:spLocks noChangeAspect="1" noChangeArrowheads="1"/>
            </p:cNvSpPr>
            <p:nvPr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7" name="Oval 449"/>
            <p:cNvSpPr>
              <a:spLocks noChangeAspect="1" noChangeArrowheads="1"/>
            </p:cNvSpPr>
            <p:nvPr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8" name="Oval 450"/>
            <p:cNvSpPr>
              <a:spLocks noChangeAspect="1" noChangeArrowheads="1"/>
            </p:cNvSpPr>
            <p:nvPr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9" name="Oval 451"/>
            <p:cNvSpPr>
              <a:spLocks noChangeAspect="1" noChangeArrowheads="1"/>
            </p:cNvSpPr>
            <p:nvPr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0" name="Oval 452"/>
            <p:cNvSpPr>
              <a:spLocks noChangeAspect="1" noChangeArrowheads="1"/>
            </p:cNvSpPr>
            <p:nvPr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1" name="Oval 453"/>
            <p:cNvSpPr>
              <a:spLocks noChangeAspect="1" noChangeArrowheads="1"/>
            </p:cNvSpPr>
            <p:nvPr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2" name="Oval 454"/>
            <p:cNvSpPr>
              <a:spLocks noChangeAspect="1" noChangeArrowheads="1"/>
            </p:cNvSpPr>
            <p:nvPr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3" name="Oval 455"/>
            <p:cNvSpPr>
              <a:spLocks noChangeAspect="1" noChangeArrowheads="1"/>
            </p:cNvSpPr>
            <p:nvPr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4" name="Oval 456"/>
            <p:cNvSpPr>
              <a:spLocks noChangeAspect="1" noChangeArrowheads="1"/>
            </p:cNvSpPr>
            <p:nvPr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5" name="Oval 457"/>
            <p:cNvSpPr>
              <a:spLocks noChangeAspect="1" noChangeArrowheads="1"/>
            </p:cNvSpPr>
            <p:nvPr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6" name="Oval 458"/>
            <p:cNvSpPr>
              <a:spLocks noChangeAspect="1" noChangeArrowheads="1"/>
            </p:cNvSpPr>
            <p:nvPr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7" name="Oval 459"/>
            <p:cNvSpPr>
              <a:spLocks noChangeAspect="1" noChangeArrowheads="1"/>
            </p:cNvSpPr>
            <p:nvPr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8" name="Oval 460"/>
            <p:cNvSpPr>
              <a:spLocks noChangeAspect="1" noChangeArrowheads="1"/>
            </p:cNvSpPr>
            <p:nvPr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9" name="Oval 461"/>
            <p:cNvSpPr>
              <a:spLocks noChangeAspect="1" noChangeArrowheads="1"/>
            </p:cNvSpPr>
            <p:nvPr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0" name="Oval 462"/>
            <p:cNvSpPr>
              <a:spLocks noChangeAspect="1" noChangeArrowheads="1"/>
            </p:cNvSpPr>
            <p:nvPr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1" name="Oval 463"/>
            <p:cNvSpPr>
              <a:spLocks noChangeAspect="1" noChangeArrowheads="1"/>
            </p:cNvSpPr>
            <p:nvPr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2" name="Oval 464"/>
            <p:cNvSpPr>
              <a:spLocks noChangeAspect="1" noChangeArrowheads="1"/>
            </p:cNvSpPr>
            <p:nvPr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3" name="Oval 465"/>
            <p:cNvSpPr>
              <a:spLocks noChangeAspect="1" noChangeArrowheads="1"/>
            </p:cNvSpPr>
            <p:nvPr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4" name="Oval 466"/>
            <p:cNvSpPr>
              <a:spLocks noChangeAspect="1" noChangeArrowheads="1"/>
            </p:cNvSpPr>
            <p:nvPr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5" name="Oval 467"/>
            <p:cNvSpPr>
              <a:spLocks noChangeAspect="1" noChangeArrowheads="1"/>
            </p:cNvSpPr>
            <p:nvPr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6" name="Oval 468"/>
            <p:cNvSpPr>
              <a:spLocks noChangeAspect="1" noChangeArrowheads="1"/>
            </p:cNvSpPr>
            <p:nvPr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7" name="Oval 469"/>
            <p:cNvSpPr>
              <a:spLocks noChangeAspect="1" noChangeArrowheads="1"/>
            </p:cNvSpPr>
            <p:nvPr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8" name="Oval 470"/>
            <p:cNvSpPr>
              <a:spLocks noChangeAspect="1" noChangeArrowheads="1"/>
            </p:cNvSpPr>
            <p:nvPr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9" name="Oval 471"/>
            <p:cNvSpPr>
              <a:spLocks noChangeAspect="1" noChangeArrowheads="1"/>
            </p:cNvSpPr>
            <p:nvPr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0" name="Oval 472"/>
            <p:cNvSpPr>
              <a:spLocks noChangeAspect="1" noChangeArrowheads="1"/>
            </p:cNvSpPr>
            <p:nvPr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1" name="Oval 473"/>
            <p:cNvSpPr>
              <a:spLocks noChangeAspect="1" noChangeArrowheads="1"/>
            </p:cNvSpPr>
            <p:nvPr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2" name="Oval 474"/>
            <p:cNvSpPr>
              <a:spLocks noChangeAspect="1" noChangeArrowheads="1"/>
            </p:cNvSpPr>
            <p:nvPr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3" name="Oval 475"/>
            <p:cNvSpPr>
              <a:spLocks noChangeAspect="1" noChangeArrowheads="1"/>
            </p:cNvSpPr>
            <p:nvPr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4" name="Oval 476"/>
            <p:cNvSpPr>
              <a:spLocks noChangeAspect="1" noChangeArrowheads="1"/>
            </p:cNvSpPr>
            <p:nvPr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5" name="Oval 477"/>
            <p:cNvSpPr>
              <a:spLocks noChangeAspect="1" noChangeArrowheads="1"/>
            </p:cNvSpPr>
            <p:nvPr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6" name="Oval 478"/>
            <p:cNvSpPr>
              <a:spLocks noChangeAspect="1" noChangeArrowheads="1"/>
            </p:cNvSpPr>
            <p:nvPr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7" name="Oval 479"/>
            <p:cNvSpPr>
              <a:spLocks noChangeAspect="1" noChangeArrowheads="1"/>
            </p:cNvSpPr>
            <p:nvPr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8" name="Oval 480"/>
            <p:cNvSpPr>
              <a:spLocks noChangeAspect="1" noChangeArrowheads="1"/>
            </p:cNvSpPr>
            <p:nvPr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9" name="Oval 481"/>
            <p:cNvSpPr>
              <a:spLocks noChangeAspect="1" noChangeArrowheads="1"/>
            </p:cNvSpPr>
            <p:nvPr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0" name="Oval 482"/>
            <p:cNvSpPr>
              <a:spLocks noChangeAspect="1" noChangeArrowheads="1"/>
            </p:cNvSpPr>
            <p:nvPr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1" name="Oval 483"/>
            <p:cNvSpPr>
              <a:spLocks noChangeAspect="1" noChangeArrowheads="1"/>
            </p:cNvSpPr>
            <p:nvPr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2" name="Oval 484"/>
            <p:cNvSpPr>
              <a:spLocks noChangeAspect="1" noChangeArrowheads="1"/>
            </p:cNvSpPr>
            <p:nvPr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3" name="Oval 485"/>
            <p:cNvSpPr>
              <a:spLocks noChangeAspect="1" noChangeArrowheads="1"/>
            </p:cNvSpPr>
            <p:nvPr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4" name="Oval 486"/>
            <p:cNvSpPr>
              <a:spLocks noChangeAspect="1" noChangeArrowheads="1"/>
            </p:cNvSpPr>
            <p:nvPr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5" name="Oval 487"/>
            <p:cNvSpPr>
              <a:spLocks noChangeAspect="1" noChangeArrowheads="1"/>
            </p:cNvSpPr>
            <p:nvPr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6" name="Oval 488"/>
            <p:cNvSpPr>
              <a:spLocks noChangeAspect="1" noChangeArrowheads="1"/>
            </p:cNvSpPr>
            <p:nvPr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7" name="Oval 489"/>
            <p:cNvSpPr>
              <a:spLocks noChangeAspect="1" noChangeArrowheads="1"/>
            </p:cNvSpPr>
            <p:nvPr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8" name="Oval 490"/>
            <p:cNvSpPr>
              <a:spLocks noChangeAspect="1" noChangeArrowheads="1"/>
            </p:cNvSpPr>
            <p:nvPr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9" name="Oval 491"/>
            <p:cNvSpPr>
              <a:spLocks noChangeAspect="1" noChangeArrowheads="1"/>
            </p:cNvSpPr>
            <p:nvPr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0" name="Oval 492"/>
            <p:cNvSpPr>
              <a:spLocks noChangeAspect="1" noChangeArrowheads="1"/>
            </p:cNvSpPr>
            <p:nvPr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1" name="Oval 493"/>
            <p:cNvSpPr>
              <a:spLocks noChangeAspect="1" noChangeArrowheads="1"/>
            </p:cNvSpPr>
            <p:nvPr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2" name="Oval 494"/>
            <p:cNvSpPr>
              <a:spLocks noChangeAspect="1" noChangeArrowheads="1"/>
            </p:cNvSpPr>
            <p:nvPr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3" name="Oval 495"/>
            <p:cNvSpPr>
              <a:spLocks noChangeAspect="1" noChangeArrowheads="1"/>
            </p:cNvSpPr>
            <p:nvPr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4" name="Oval 496"/>
            <p:cNvSpPr>
              <a:spLocks noChangeAspect="1" noChangeArrowheads="1"/>
            </p:cNvSpPr>
            <p:nvPr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5" name="Oval 497"/>
            <p:cNvSpPr>
              <a:spLocks noChangeAspect="1" noChangeArrowheads="1"/>
            </p:cNvSpPr>
            <p:nvPr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6" name="Oval 498"/>
            <p:cNvSpPr>
              <a:spLocks noChangeAspect="1" noChangeArrowheads="1"/>
            </p:cNvSpPr>
            <p:nvPr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7" name="Oval 499"/>
            <p:cNvSpPr>
              <a:spLocks noChangeAspect="1" noChangeArrowheads="1"/>
            </p:cNvSpPr>
            <p:nvPr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8" name="Oval 500"/>
            <p:cNvSpPr>
              <a:spLocks noChangeAspect="1" noChangeArrowheads="1"/>
            </p:cNvSpPr>
            <p:nvPr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9" name="Oval 501"/>
            <p:cNvSpPr>
              <a:spLocks noChangeAspect="1" noChangeArrowheads="1"/>
            </p:cNvSpPr>
            <p:nvPr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0" name="Oval 502"/>
            <p:cNvSpPr>
              <a:spLocks noChangeAspect="1" noChangeArrowheads="1"/>
            </p:cNvSpPr>
            <p:nvPr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1" name="Oval 503"/>
            <p:cNvSpPr>
              <a:spLocks noChangeAspect="1" noChangeArrowheads="1"/>
            </p:cNvSpPr>
            <p:nvPr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2" name="Oval 504"/>
            <p:cNvSpPr>
              <a:spLocks noChangeAspect="1" noChangeArrowheads="1"/>
            </p:cNvSpPr>
            <p:nvPr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3" name="Oval 505"/>
            <p:cNvSpPr>
              <a:spLocks noChangeAspect="1" noChangeArrowheads="1"/>
            </p:cNvSpPr>
            <p:nvPr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4" name="Oval 506"/>
            <p:cNvSpPr>
              <a:spLocks noChangeAspect="1" noChangeArrowheads="1"/>
            </p:cNvSpPr>
            <p:nvPr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5" name="Oval 507"/>
            <p:cNvSpPr>
              <a:spLocks noChangeAspect="1" noChangeArrowheads="1"/>
            </p:cNvSpPr>
            <p:nvPr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6" name="Oval 508"/>
            <p:cNvSpPr>
              <a:spLocks noChangeAspect="1" noChangeArrowheads="1"/>
            </p:cNvSpPr>
            <p:nvPr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7" name="Oval 509"/>
            <p:cNvSpPr>
              <a:spLocks noChangeAspect="1" noChangeArrowheads="1"/>
            </p:cNvSpPr>
            <p:nvPr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8" name="Oval 510"/>
            <p:cNvSpPr>
              <a:spLocks noChangeAspect="1" noChangeArrowheads="1"/>
            </p:cNvSpPr>
            <p:nvPr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9" name="Oval 511"/>
            <p:cNvSpPr>
              <a:spLocks noChangeAspect="1" noChangeArrowheads="1"/>
            </p:cNvSpPr>
            <p:nvPr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0" name="Oval 512"/>
            <p:cNvSpPr>
              <a:spLocks noChangeAspect="1" noChangeArrowheads="1"/>
            </p:cNvSpPr>
            <p:nvPr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1" name="Oval 513"/>
            <p:cNvSpPr>
              <a:spLocks noChangeAspect="1" noChangeArrowheads="1"/>
            </p:cNvSpPr>
            <p:nvPr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2" name="Oval 514"/>
            <p:cNvSpPr>
              <a:spLocks noChangeAspect="1" noChangeArrowheads="1"/>
            </p:cNvSpPr>
            <p:nvPr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3" name="Oval 515"/>
            <p:cNvSpPr>
              <a:spLocks noChangeAspect="1" noChangeArrowheads="1"/>
            </p:cNvSpPr>
            <p:nvPr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4" name="Oval 516"/>
            <p:cNvSpPr>
              <a:spLocks noChangeAspect="1" noChangeArrowheads="1"/>
            </p:cNvSpPr>
            <p:nvPr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5" name="Oval 517"/>
            <p:cNvSpPr>
              <a:spLocks noChangeAspect="1" noChangeArrowheads="1"/>
            </p:cNvSpPr>
            <p:nvPr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6" name="Oval 518"/>
            <p:cNvSpPr>
              <a:spLocks noChangeAspect="1" noChangeArrowheads="1"/>
            </p:cNvSpPr>
            <p:nvPr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7" name="Oval 519"/>
            <p:cNvSpPr>
              <a:spLocks noChangeAspect="1" noChangeArrowheads="1"/>
            </p:cNvSpPr>
            <p:nvPr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8" name="Oval 520"/>
            <p:cNvSpPr>
              <a:spLocks noChangeAspect="1" noChangeArrowheads="1"/>
            </p:cNvSpPr>
            <p:nvPr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9" name="Oval 521"/>
            <p:cNvSpPr>
              <a:spLocks noChangeAspect="1" noChangeArrowheads="1"/>
            </p:cNvSpPr>
            <p:nvPr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0" name="Oval 522"/>
            <p:cNvSpPr>
              <a:spLocks noChangeAspect="1" noChangeArrowheads="1"/>
            </p:cNvSpPr>
            <p:nvPr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1" name="Oval 523"/>
            <p:cNvSpPr>
              <a:spLocks noChangeAspect="1" noChangeArrowheads="1"/>
            </p:cNvSpPr>
            <p:nvPr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2" name="Oval 524"/>
            <p:cNvSpPr>
              <a:spLocks noChangeAspect="1" noChangeArrowheads="1"/>
            </p:cNvSpPr>
            <p:nvPr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3" name="Oval 525"/>
            <p:cNvSpPr>
              <a:spLocks noChangeAspect="1" noChangeArrowheads="1"/>
            </p:cNvSpPr>
            <p:nvPr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4" name="Oval 526"/>
            <p:cNvSpPr>
              <a:spLocks noChangeAspect="1" noChangeArrowheads="1"/>
            </p:cNvSpPr>
            <p:nvPr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5" name="Oval 527"/>
            <p:cNvSpPr>
              <a:spLocks noChangeAspect="1" noChangeArrowheads="1"/>
            </p:cNvSpPr>
            <p:nvPr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6" name="Oval 528"/>
            <p:cNvSpPr>
              <a:spLocks noChangeAspect="1" noChangeArrowheads="1"/>
            </p:cNvSpPr>
            <p:nvPr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7" name="Oval 529"/>
            <p:cNvSpPr>
              <a:spLocks noChangeAspect="1" noChangeArrowheads="1"/>
            </p:cNvSpPr>
            <p:nvPr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8" name="Oval 530"/>
            <p:cNvSpPr>
              <a:spLocks noChangeAspect="1" noChangeArrowheads="1"/>
            </p:cNvSpPr>
            <p:nvPr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9" name="Oval 531"/>
            <p:cNvSpPr>
              <a:spLocks noChangeAspect="1" noChangeArrowheads="1"/>
            </p:cNvSpPr>
            <p:nvPr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0" name="Oval 532"/>
            <p:cNvSpPr>
              <a:spLocks noChangeAspect="1" noChangeArrowheads="1"/>
            </p:cNvSpPr>
            <p:nvPr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1" name="Oval 533"/>
            <p:cNvSpPr>
              <a:spLocks noChangeAspect="1" noChangeArrowheads="1"/>
            </p:cNvSpPr>
            <p:nvPr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2" name="Oval 534"/>
            <p:cNvSpPr>
              <a:spLocks noChangeAspect="1" noChangeArrowheads="1"/>
            </p:cNvSpPr>
            <p:nvPr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3" name="Oval 535"/>
            <p:cNvSpPr>
              <a:spLocks noChangeAspect="1" noChangeArrowheads="1"/>
            </p:cNvSpPr>
            <p:nvPr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4" name="Oval 536"/>
            <p:cNvSpPr>
              <a:spLocks noChangeAspect="1" noChangeArrowheads="1"/>
            </p:cNvSpPr>
            <p:nvPr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5" name="Oval 537"/>
            <p:cNvSpPr>
              <a:spLocks noChangeAspect="1" noChangeArrowheads="1"/>
            </p:cNvSpPr>
            <p:nvPr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6" name="Oval 538"/>
            <p:cNvSpPr>
              <a:spLocks noChangeAspect="1" noChangeArrowheads="1"/>
            </p:cNvSpPr>
            <p:nvPr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7" name="Oval 539"/>
            <p:cNvSpPr>
              <a:spLocks noChangeAspect="1" noChangeArrowheads="1"/>
            </p:cNvSpPr>
            <p:nvPr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8" name="Oval 540"/>
            <p:cNvSpPr>
              <a:spLocks noChangeAspect="1" noChangeArrowheads="1"/>
            </p:cNvSpPr>
            <p:nvPr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9" name="Oval 541"/>
            <p:cNvSpPr>
              <a:spLocks noChangeAspect="1" noChangeArrowheads="1"/>
            </p:cNvSpPr>
            <p:nvPr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0" name="Oval 542"/>
            <p:cNvSpPr>
              <a:spLocks noChangeAspect="1" noChangeArrowheads="1"/>
            </p:cNvSpPr>
            <p:nvPr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1" name="Oval 543"/>
            <p:cNvSpPr>
              <a:spLocks noChangeAspect="1" noChangeArrowheads="1"/>
            </p:cNvSpPr>
            <p:nvPr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2" name="Oval 544"/>
            <p:cNvSpPr>
              <a:spLocks noChangeAspect="1" noChangeArrowheads="1"/>
            </p:cNvSpPr>
            <p:nvPr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3" name="Oval 545"/>
            <p:cNvSpPr>
              <a:spLocks noChangeAspect="1" noChangeArrowheads="1"/>
            </p:cNvSpPr>
            <p:nvPr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4" name="Oval 546"/>
            <p:cNvSpPr>
              <a:spLocks noChangeAspect="1" noChangeArrowheads="1"/>
            </p:cNvSpPr>
            <p:nvPr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5" name="Oval 547"/>
            <p:cNvSpPr>
              <a:spLocks noChangeAspect="1" noChangeArrowheads="1"/>
            </p:cNvSpPr>
            <p:nvPr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6" name="Oval 548"/>
            <p:cNvSpPr>
              <a:spLocks noChangeAspect="1" noChangeArrowheads="1"/>
            </p:cNvSpPr>
            <p:nvPr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7" name="Oval 549"/>
            <p:cNvSpPr>
              <a:spLocks noChangeAspect="1" noChangeArrowheads="1"/>
            </p:cNvSpPr>
            <p:nvPr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8" name="Oval 550"/>
            <p:cNvSpPr>
              <a:spLocks noChangeAspect="1" noChangeArrowheads="1"/>
            </p:cNvSpPr>
            <p:nvPr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9" name="Oval 551"/>
            <p:cNvSpPr>
              <a:spLocks noChangeAspect="1" noChangeArrowheads="1"/>
            </p:cNvSpPr>
            <p:nvPr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0" name="Oval 552"/>
            <p:cNvSpPr>
              <a:spLocks noChangeAspect="1" noChangeArrowheads="1"/>
            </p:cNvSpPr>
            <p:nvPr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1" name="Oval 553"/>
            <p:cNvSpPr>
              <a:spLocks noChangeAspect="1" noChangeArrowheads="1"/>
            </p:cNvSpPr>
            <p:nvPr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2" name="Oval 554"/>
            <p:cNvSpPr>
              <a:spLocks noChangeAspect="1" noChangeArrowheads="1"/>
            </p:cNvSpPr>
            <p:nvPr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3" name="Oval 555"/>
            <p:cNvSpPr>
              <a:spLocks noChangeAspect="1" noChangeArrowheads="1"/>
            </p:cNvSpPr>
            <p:nvPr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4" name="Oval 556"/>
            <p:cNvSpPr>
              <a:spLocks noChangeAspect="1" noChangeArrowheads="1"/>
            </p:cNvSpPr>
            <p:nvPr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5" name="Oval 557"/>
            <p:cNvSpPr>
              <a:spLocks noChangeAspect="1" noChangeArrowheads="1"/>
            </p:cNvSpPr>
            <p:nvPr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6" name="Oval 558"/>
            <p:cNvSpPr>
              <a:spLocks noChangeAspect="1" noChangeArrowheads="1"/>
            </p:cNvSpPr>
            <p:nvPr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7" name="Oval 559"/>
            <p:cNvSpPr>
              <a:spLocks noChangeAspect="1" noChangeArrowheads="1"/>
            </p:cNvSpPr>
            <p:nvPr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8" name="Oval 560"/>
            <p:cNvSpPr>
              <a:spLocks noChangeAspect="1" noChangeArrowheads="1"/>
            </p:cNvSpPr>
            <p:nvPr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9" name="Oval 561"/>
            <p:cNvSpPr>
              <a:spLocks noChangeAspect="1" noChangeArrowheads="1"/>
            </p:cNvSpPr>
            <p:nvPr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0" name="Oval 562"/>
            <p:cNvSpPr>
              <a:spLocks noChangeAspect="1" noChangeArrowheads="1"/>
            </p:cNvSpPr>
            <p:nvPr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1" name="Oval 563"/>
            <p:cNvSpPr>
              <a:spLocks noChangeAspect="1" noChangeArrowheads="1"/>
            </p:cNvSpPr>
            <p:nvPr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2" name="Oval 564"/>
            <p:cNvSpPr>
              <a:spLocks noChangeAspect="1" noChangeArrowheads="1"/>
            </p:cNvSpPr>
            <p:nvPr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3" name="Oval 565"/>
            <p:cNvSpPr>
              <a:spLocks noChangeAspect="1" noChangeArrowheads="1"/>
            </p:cNvSpPr>
            <p:nvPr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4" name="Oval 566"/>
            <p:cNvSpPr>
              <a:spLocks noChangeAspect="1" noChangeArrowheads="1"/>
            </p:cNvSpPr>
            <p:nvPr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5" name="Oval 567"/>
            <p:cNvSpPr>
              <a:spLocks noChangeAspect="1" noChangeArrowheads="1"/>
            </p:cNvSpPr>
            <p:nvPr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6" name="Oval 568"/>
            <p:cNvSpPr>
              <a:spLocks noChangeAspect="1" noChangeArrowheads="1"/>
            </p:cNvSpPr>
            <p:nvPr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7" name="Oval 569"/>
            <p:cNvSpPr>
              <a:spLocks noChangeAspect="1" noChangeArrowheads="1"/>
            </p:cNvSpPr>
            <p:nvPr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8" name="Oval 570"/>
            <p:cNvSpPr>
              <a:spLocks noChangeAspect="1" noChangeArrowheads="1"/>
            </p:cNvSpPr>
            <p:nvPr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9" name="Oval 571"/>
            <p:cNvSpPr>
              <a:spLocks noChangeAspect="1" noChangeArrowheads="1"/>
            </p:cNvSpPr>
            <p:nvPr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0" name="Oval 572"/>
            <p:cNvSpPr>
              <a:spLocks noChangeAspect="1" noChangeArrowheads="1"/>
            </p:cNvSpPr>
            <p:nvPr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1" name="Oval 573"/>
            <p:cNvSpPr>
              <a:spLocks noChangeAspect="1" noChangeArrowheads="1"/>
            </p:cNvSpPr>
            <p:nvPr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2" name="Oval 574"/>
            <p:cNvSpPr>
              <a:spLocks noChangeAspect="1" noChangeArrowheads="1"/>
            </p:cNvSpPr>
            <p:nvPr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3" name="Oval 575"/>
            <p:cNvSpPr>
              <a:spLocks noChangeAspect="1" noChangeArrowheads="1"/>
            </p:cNvSpPr>
            <p:nvPr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4" name="Oval 576"/>
            <p:cNvSpPr>
              <a:spLocks noChangeAspect="1" noChangeArrowheads="1"/>
            </p:cNvSpPr>
            <p:nvPr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5" name="Oval 577"/>
            <p:cNvSpPr>
              <a:spLocks noChangeAspect="1" noChangeArrowheads="1"/>
            </p:cNvSpPr>
            <p:nvPr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6" name="Oval 578"/>
            <p:cNvSpPr>
              <a:spLocks noChangeAspect="1" noChangeArrowheads="1"/>
            </p:cNvSpPr>
            <p:nvPr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7" name="Oval 579"/>
            <p:cNvSpPr>
              <a:spLocks noChangeAspect="1" noChangeArrowheads="1"/>
            </p:cNvSpPr>
            <p:nvPr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8" name="Oval 580"/>
            <p:cNvSpPr>
              <a:spLocks noChangeAspect="1" noChangeArrowheads="1"/>
            </p:cNvSpPr>
            <p:nvPr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9" name="Oval 581"/>
            <p:cNvSpPr>
              <a:spLocks noChangeAspect="1" noChangeArrowheads="1"/>
            </p:cNvSpPr>
            <p:nvPr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0" name="Oval 582"/>
            <p:cNvSpPr>
              <a:spLocks noChangeAspect="1" noChangeArrowheads="1"/>
            </p:cNvSpPr>
            <p:nvPr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1" name="Oval 583"/>
            <p:cNvSpPr>
              <a:spLocks noChangeAspect="1" noChangeArrowheads="1"/>
            </p:cNvSpPr>
            <p:nvPr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2" name="Oval 584"/>
            <p:cNvSpPr>
              <a:spLocks noChangeAspect="1" noChangeArrowheads="1"/>
            </p:cNvSpPr>
            <p:nvPr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3" name="Oval 585"/>
            <p:cNvSpPr>
              <a:spLocks noChangeAspect="1" noChangeArrowheads="1"/>
            </p:cNvSpPr>
            <p:nvPr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4" name="Oval 586"/>
            <p:cNvSpPr>
              <a:spLocks noChangeAspect="1" noChangeArrowheads="1"/>
            </p:cNvSpPr>
            <p:nvPr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5" name="Oval 587"/>
            <p:cNvSpPr>
              <a:spLocks noChangeAspect="1" noChangeArrowheads="1"/>
            </p:cNvSpPr>
            <p:nvPr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6" name="Oval 588"/>
            <p:cNvSpPr>
              <a:spLocks noChangeAspect="1" noChangeArrowheads="1"/>
            </p:cNvSpPr>
            <p:nvPr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7" name="Oval 589"/>
            <p:cNvSpPr>
              <a:spLocks noChangeAspect="1" noChangeArrowheads="1"/>
            </p:cNvSpPr>
            <p:nvPr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8" name="Oval 590"/>
            <p:cNvSpPr>
              <a:spLocks noChangeAspect="1" noChangeArrowheads="1"/>
            </p:cNvSpPr>
            <p:nvPr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9" name="Oval 591"/>
            <p:cNvSpPr>
              <a:spLocks noChangeAspect="1" noChangeArrowheads="1"/>
            </p:cNvSpPr>
            <p:nvPr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0" name="Oval 592"/>
            <p:cNvSpPr>
              <a:spLocks noChangeAspect="1" noChangeArrowheads="1"/>
            </p:cNvSpPr>
            <p:nvPr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1" name="Oval 593"/>
            <p:cNvSpPr>
              <a:spLocks noChangeAspect="1" noChangeArrowheads="1"/>
            </p:cNvSpPr>
            <p:nvPr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2" name="Oval 594"/>
            <p:cNvSpPr>
              <a:spLocks noChangeAspect="1" noChangeArrowheads="1"/>
            </p:cNvSpPr>
            <p:nvPr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3" name="Oval 595"/>
            <p:cNvSpPr>
              <a:spLocks noChangeAspect="1" noChangeArrowheads="1"/>
            </p:cNvSpPr>
            <p:nvPr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4" name="Oval 596"/>
            <p:cNvSpPr>
              <a:spLocks noChangeAspect="1" noChangeArrowheads="1"/>
            </p:cNvSpPr>
            <p:nvPr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5" name="Oval 597"/>
            <p:cNvSpPr>
              <a:spLocks noChangeAspect="1" noChangeArrowheads="1"/>
            </p:cNvSpPr>
            <p:nvPr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6" name="Oval 598"/>
            <p:cNvSpPr>
              <a:spLocks noChangeAspect="1" noChangeArrowheads="1"/>
            </p:cNvSpPr>
            <p:nvPr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7" name="Oval 599"/>
            <p:cNvSpPr>
              <a:spLocks noChangeAspect="1" noChangeArrowheads="1"/>
            </p:cNvSpPr>
            <p:nvPr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8" name="Oval 600"/>
            <p:cNvSpPr>
              <a:spLocks noChangeAspect="1" noChangeArrowheads="1"/>
            </p:cNvSpPr>
            <p:nvPr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9" name="Oval 601"/>
            <p:cNvSpPr>
              <a:spLocks noChangeAspect="1" noChangeArrowheads="1"/>
            </p:cNvSpPr>
            <p:nvPr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0" name="Oval 602"/>
            <p:cNvSpPr>
              <a:spLocks noChangeAspect="1" noChangeArrowheads="1"/>
            </p:cNvSpPr>
            <p:nvPr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1" name="Oval 603"/>
            <p:cNvSpPr>
              <a:spLocks noChangeAspect="1" noChangeArrowheads="1"/>
            </p:cNvSpPr>
            <p:nvPr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2" name="Oval 604"/>
            <p:cNvSpPr>
              <a:spLocks noChangeAspect="1" noChangeArrowheads="1"/>
            </p:cNvSpPr>
            <p:nvPr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3" name="Oval 605"/>
            <p:cNvSpPr>
              <a:spLocks noChangeAspect="1" noChangeArrowheads="1"/>
            </p:cNvSpPr>
            <p:nvPr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4" name="Oval 606"/>
            <p:cNvSpPr>
              <a:spLocks noChangeAspect="1" noChangeArrowheads="1"/>
            </p:cNvSpPr>
            <p:nvPr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5" name="Oval 607"/>
            <p:cNvSpPr>
              <a:spLocks noChangeAspect="1" noChangeArrowheads="1"/>
            </p:cNvSpPr>
            <p:nvPr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6" name="Oval 608"/>
            <p:cNvSpPr>
              <a:spLocks noChangeAspect="1" noChangeArrowheads="1"/>
            </p:cNvSpPr>
            <p:nvPr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7" name="Oval 609"/>
            <p:cNvSpPr>
              <a:spLocks noChangeAspect="1" noChangeArrowheads="1"/>
            </p:cNvSpPr>
            <p:nvPr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8" name="Oval 610"/>
            <p:cNvSpPr>
              <a:spLocks noChangeAspect="1" noChangeArrowheads="1"/>
            </p:cNvSpPr>
            <p:nvPr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9" name="Oval 611"/>
            <p:cNvSpPr>
              <a:spLocks noChangeAspect="1" noChangeArrowheads="1"/>
            </p:cNvSpPr>
            <p:nvPr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0" name="Oval 612"/>
            <p:cNvSpPr>
              <a:spLocks noChangeAspect="1" noChangeArrowheads="1"/>
            </p:cNvSpPr>
            <p:nvPr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1" name="Oval 613"/>
            <p:cNvSpPr>
              <a:spLocks noChangeAspect="1" noChangeArrowheads="1"/>
            </p:cNvSpPr>
            <p:nvPr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2" name="Oval 614"/>
            <p:cNvSpPr>
              <a:spLocks noChangeAspect="1" noChangeArrowheads="1"/>
            </p:cNvSpPr>
            <p:nvPr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3" name="Oval 615"/>
            <p:cNvSpPr>
              <a:spLocks noChangeAspect="1" noChangeArrowheads="1"/>
            </p:cNvSpPr>
            <p:nvPr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4" name="Oval 616"/>
            <p:cNvSpPr>
              <a:spLocks noChangeAspect="1" noChangeArrowheads="1"/>
            </p:cNvSpPr>
            <p:nvPr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5" name="Oval 617"/>
            <p:cNvSpPr>
              <a:spLocks noChangeAspect="1" noChangeArrowheads="1"/>
            </p:cNvSpPr>
            <p:nvPr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6" name="Oval 618"/>
            <p:cNvSpPr>
              <a:spLocks noChangeAspect="1" noChangeArrowheads="1"/>
            </p:cNvSpPr>
            <p:nvPr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7" name="Oval 619"/>
            <p:cNvSpPr>
              <a:spLocks noChangeAspect="1" noChangeArrowheads="1"/>
            </p:cNvSpPr>
            <p:nvPr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8" name="Oval 620"/>
            <p:cNvSpPr>
              <a:spLocks noChangeAspect="1" noChangeArrowheads="1"/>
            </p:cNvSpPr>
            <p:nvPr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9" name="Oval 621"/>
            <p:cNvSpPr>
              <a:spLocks noChangeAspect="1" noChangeArrowheads="1"/>
            </p:cNvSpPr>
            <p:nvPr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0" name="Oval 622"/>
            <p:cNvSpPr>
              <a:spLocks noChangeAspect="1" noChangeArrowheads="1"/>
            </p:cNvSpPr>
            <p:nvPr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1" name="Oval 623"/>
            <p:cNvSpPr>
              <a:spLocks noChangeAspect="1" noChangeArrowheads="1"/>
            </p:cNvSpPr>
            <p:nvPr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2" name="Oval 624"/>
            <p:cNvSpPr>
              <a:spLocks noChangeAspect="1" noChangeArrowheads="1"/>
            </p:cNvSpPr>
            <p:nvPr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3" name="Oval 625"/>
            <p:cNvSpPr>
              <a:spLocks noChangeAspect="1" noChangeArrowheads="1"/>
            </p:cNvSpPr>
            <p:nvPr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4" name="Oval 626"/>
            <p:cNvSpPr>
              <a:spLocks noChangeAspect="1" noChangeArrowheads="1"/>
            </p:cNvSpPr>
            <p:nvPr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5" name="Oval 627"/>
            <p:cNvSpPr>
              <a:spLocks noChangeAspect="1" noChangeArrowheads="1"/>
            </p:cNvSpPr>
            <p:nvPr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6" name="Oval 628"/>
            <p:cNvSpPr>
              <a:spLocks noChangeAspect="1" noChangeArrowheads="1"/>
            </p:cNvSpPr>
            <p:nvPr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7" name="Oval 629"/>
            <p:cNvSpPr>
              <a:spLocks noChangeAspect="1" noChangeArrowheads="1"/>
            </p:cNvSpPr>
            <p:nvPr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8" name="Oval 630"/>
            <p:cNvSpPr>
              <a:spLocks noChangeAspect="1" noChangeArrowheads="1"/>
            </p:cNvSpPr>
            <p:nvPr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9" name="Oval 631"/>
            <p:cNvSpPr>
              <a:spLocks noChangeAspect="1" noChangeArrowheads="1"/>
            </p:cNvSpPr>
            <p:nvPr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0" name="Oval 632"/>
            <p:cNvSpPr>
              <a:spLocks noChangeAspect="1" noChangeArrowheads="1"/>
            </p:cNvSpPr>
            <p:nvPr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1" name="Oval 633"/>
            <p:cNvSpPr>
              <a:spLocks noChangeAspect="1" noChangeArrowheads="1"/>
            </p:cNvSpPr>
            <p:nvPr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2" name="Oval 634"/>
            <p:cNvSpPr>
              <a:spLocks noChangeAspect="1" noChangeArrowheads="1"/>
            </p:cNvSpPr>
            <p:nvPr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3" name="Oval 635"/>
            <p:cNvSpPr>
              <a:spLocks noChangeAspect="1" noChangeArrowheads="1"/>
            </p:cNvSpPr>
            <p:nvPr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4" name="Oval 636"/>
            <p:cNvSpPr>
              <a:spLocks noChangeAspect="1" noChangeArrowheads="1"/>
            </p:cNvSpPr>
            <p:nvPr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5" name="Oval 637"/>
            <p:cNvSpPr>
              <a:spLocks noChangeAspect="1" noChangeArrowheads="1"/>
            </p:cNvSpPr>
            <p:nvPr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6" name="Oval 638"/>
            <p:cNvSpPr>
              <a:spLocks noChangeAspect="1" noChangeArrowheads="1"/>
            </p:cNvSpPr>
            <p:nvPr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7" name="Oval 639"/>
            <p:cNvSpPr>
              <a:spLocks noChangeAspect="1" noChangeArrowheads="1"/>
            </p:cNvSpPr>
            <p:nvPr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8" name="Oval 640"/>
            <p:cNvSpPr>
              <a:spLocks noChangeAspect="1" noChangeArrowheads="1"/>
            </p:cNvSpPr>
            <p:nvPr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9" name="Oval 641"/>
            <p:cNvSpPr>
              <a:spLocks noChangeAspect="1" noChangeArrowheads="1"/>
            </p:cNvSpPr>
            <p:nvPr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0" name="Oval 642"/>
            <p:cNvSpPr>
              <a:spLocks noChangeAspect="1" noChangeArrowheads="1"/>
            </p:cNvSpPr>
            <p:nvPr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1" name="Oval 643"/>
            <p:cNvSpPr>
              <a:spLocks noChangeAspect="1" noChangeArrowheads="1"/>
            </p:cNvSpPr>
            <p:nvPr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2" name="Oval 644"/>
            <p:cNvSpPr>
              <a:spLocks noChangeAspect="1" noChangeArrowheads="1"/>
            </p:cNvSpPr>
            <p:nvPr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3" name="Oval 645"/>
            <p:cNvSpPr>
              <a:spLocks noChangeAspect="1" noChangeArrowheads="1"/>
            </p:cNvSpPr>
            <p:nvPr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4" name="Oval 646"/>
            <p:cNvSpPr>
              <a:spLocks noChangeAspect="1" noChangeArrowheads="1"/>
            </p:cNvSpPr>
            <p:nvPr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5" name="Oval 647"/>
            <p:cNvSpPr>
              <a:spLocks noChangeAspect="1" noChangeArrowheads="1"/>
            </p:cNvSpPr>
            <p:nvPr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6" name="Oval 648"/>
            <p:cNvSpPr>
              <a:spLocks noChangeAspect="1" noChangeArrowheads="1"/>
            </p:cNvSpPr>
            <p:nvPr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7" name="Oval 649"/>
            <p:cNvSpPr>
              <a:spLocks noChangeAspect="1" noChangeArrowheads="1"/>
            </p:cNvSpPr>
            <p:nvPr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8" name="Oval 650"/>
            <p:cNvSpPr>
              <a:spLocks noChangeAspect="1" noChangeArrowheads="1"/>
            </p:cNvSpPr>
            <p:nvPr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9" name="Oval 651"/>
            <p:cNvSpPr>
              <a:spLocks noChangeAspect="1" noChangeArrowheads="1"/>
            </p:cNvSpPr>
            <p:nvPr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0" name="Oval 652"/>
            <p:cNvSpPr>
              <a:spLocks noChangeAspect="1" noChangeArrowheads="1"/>
            </p:cNvSpPr>
            <p:nvPr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1" name="Oval 653"/>
            <p:cNvSpPr>
              <a:spLocks noChangeAspect="1" noChangeArrowheads="1"/>
            </p:cNvSpPr>
            <p:nvPr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2" name="Oval 654"/>
            <p:cNvSpPr>
              <a:spLocks noChangeAspect="1" noChangeArrowheads="1"/>
            </p:cNvSpPr>
            <p:nvPr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3" name="Oval 655"/>
            <p:cNvSpPr>
              <a:spLocks noChangeAspect="1" noChangeArrowheads="1"/>
            </p:cNvSpPr>
            <p:nvPr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4" name="Oval 656"/>
            <p:cNvSpPr>
              <a:spLocks noChangeAspect="1" noChangeArrowheads="1"/>
            </p:cNvSpPr>
            <p:nvPr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5" name="Oval 657"/>
            <p:cNvSpPr>
              <a:spLocks noChangeAspect="1" noChangeArrowheads="1"/>
            </p:cNvSpPr>
            <p:nvPr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6" name="Oval 658"/>
            <p:cNvSpPr>
              <a:spLocks noChangeAspect="1" noChangeArrowheads="1"/>
            </p:cNvSpPr>
            <p:nvPr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7" name="Oval 659"/>
            <p:cNvSpPr>
              <a:spLocks noChangeAspect="1" noChangeArrowheads="1"/>
            </p:cNvSpPr>
            <p:nvPr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8" name="Oval 660"/>
            <p:cNvSpPr>
              <a:spLocks noChangeAspect="1" noChangeArrowheads="1"/>
            </p:cNvSpPr>
            <p:nvPr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9" name="Oval 661"/>
            <p:cNvSpPr>
              <a:spLocks noChangeAspect="1" noChangeArrowheads="1"/>
            </p:cNvSpPr>
            <p:nvPr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0" name="Oval 662"/>
            <p:cNvSpPr>
              <a:spLocks noChangeAspect="1" noChangeArrowheads="1"/>
            </p:cNvSpPr>
            <p:nvPr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1" name="Oval 663"/>
            <p:cNvSpPr>
              <a:spLocks noChangeAspect="1" noChangeArrowheads="1"/>
            </p:cNvSpPr>
            <p:nvPr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2" name="Oval 664"/>
            <p:cNvSpPr>
              <a:spLocks noChangeAspect="1" noChangeArrowheads="1"/>
            </p:cNvSpPr>
            <p:nvPr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3" name="Oval 665"/>
            <p:cNvSpPr>
              <a:spLocks noChangeAspect="1" noChangeArrowheads="1"/>
            </p:cNvSpPr>
            <p:nvPr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4" name="Oval 666"/>
            <p:cNvSpPr>
              <a:spLocks noChangeAspect="1" noChangeArrowheads="1"/>
            </p:cNvSpPr>
            <p:nvPr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5" name="Oval 667"/>
            <p:cNvSpPr>
              <a:spLocks noChangeAspect="1" noChangeArrowheads="1"/>
            </p:cNvSpPr>
            <p:nvPr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6" name="Oval 668"/>
            <p:cNvSpPr>
              <a:spLocks noChangeAspect="1" noChangeArrowheads="1"/>
            </p:cNvSpPr>
            <p:nvPr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7" name="Oval 669"/>
            <p:cNvSpPr>
              <a:spLocks noChangeAspect="1" noChangeArrowheads="1"/>
            </p:cNvSpPr>
            <p:nvPr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8" name="Oval 670"/>
            <p:cNvSpPr>
              <a:spLocks noChangeAspect="1" noChangeArrowheads="1"/>
            </p:cNvSpPr>
            <p:nvPr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9" name="Oval 671"/>
            <p:cNvSpPr>
              <a:spLocks noChangeAspect="1" noChangeArrowheads="1"/>
            </p:cNvSpPr>
            <p:nvPr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0" name="Oval 672"/>
            <p:cNvSpPr>
              <a:spLocks noChangeAspect="1" noChangeArrowheads="1"/>
            </p:cNvSpPr>
            <p:nvPr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1" name="Oval 673"/>
            <p:cNvSpPr>
              <a:spLocks noChangeAspect="1" noChangeArrowheads="1"/>
            </p:cNvSpPr>
            <p:nvPr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2" name="Oval 674"/>
            <p:cNvSpPr>
              <a:spLocks noChangeAspect="1" noChangeArrowheads="1"/>
            </p:cNvSpPr>
            <p:nvPr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3" name="Oval 675"/>
            <p:cNvSpPr>
              <a:spLocks noChangeAspect="1" noChangeArrowheads="1"/>
            </p:cNvSpPr>
            <p:nvPr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4" name="Oval 676"/>
            <p:cNvSpPr>
              <a:spLocks noChangeAspect="1" noChangeArrowheads="1"/>
            </p:cNvSpPr>
            <p:nvPr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5" name="Oval 677"/>
            <p:cNvSpPr>
              <a:spLocks noChangeAspect="1" noChangeArrowheads="1"/>
            </p:cNvSpPr>
            <p:nvPr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6" name="Oval 678"/>
            <p:cNvSpPr>
              <a:spLocks noChangeAspect="1" noChangeArrowheads="1"/>
            </p:cNvSpPr>
            <p:nvPr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7" name="Oval 679"/>
            <p:cNvSpPr>
              <a:spLocks noChangeAspect="1" noChangeArrowheads="1"/>
            </p:cNvSpPr>
            <p:nvPr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8" name="Oval 680"/>
            <p:cNvSpPr>
              <a:spLocks noChangeAspect="1" noChangeArrowheads="1"/>
            </p:cNvSpPr>
            <p:nvPr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9" name="Oval 681"/>
            <p:cNvSpPr>
              <a:spLocks noChangeAspect="1" noChangeArrowheads="1"/>
            </p:cNvSpPr>
            <p:nvPr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0" name="Oval 682"/>
            <p:cNvSpPr>
              <a:spLocks noChangeAspect="1" noChangeArrowheads="1"/>
            </p:cNvSpPr>
            <p:nvPr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1" name="Oval 683"/>
            <p:cNvSpPr>
              <a:spLocks noChangeAspect="1" noChangeArrowheads="1"/>
            </p:cNvSpPr>
            <p:nvPr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2" name="Oval 684"/>
            <p:cNvSpPr>
              <a:spLocks noChangeAspect="1" noChangeArrowheads="1"/>
            </p:cNvSpPr>
            <p:nvPr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3" name="Oval 685"/>
            <p:cNvSpPr>
              <a:spLocks noChangeAspect="1" noChangeArrowheads="1"/>
            </p:cNvSpPr>
            <p:nvPr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4" name="Oval 686"/>
            <p:cNvSpPr>
              <a:spLocks noChangeAspect="1" noChangeArrowheads="1"/>
            </p:cNvSpPr>
            <p:nvPr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5" name="Oval 687"/>
            <p:cNvSpPr>
              <a:spLocks noChangeAspect="1" noChangeArrowheads="1"/>
            </p:cNvSpPr>
            <p:nvPr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6" name="Oval 688"/>
            <p:cNvSpPr>
              <a:spLocks noChangeAspect="1" noChangeArrowheads="1"/>
            </p:cNvSpPr>
            <p:nvPr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7" name="Oval 689"/>
            <p:cNvSpPr>
              <a:spLocks noChangeAspect="1" noChangeArrowheads="1"/>
            </p:cNvSpPr>
            <p:nvPr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8" name="Oval 690"/>
            <p:cNvSpPr>
              <a:spLocks noChangeAspect="1" noChangeArrowheads="1"/>
            </p:cNvSpPr>
            <p:nvPr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9" name="Oval 691"/>
            <p:cNvSpPr>
              <a:spLocks noChangeAspect="1" noChangeArrowheads="1"/>
            </p:cNvSpPr>
            <p:nvPr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0" name="Oval 692"/>
            <p:cNvSpPr>
              <a:spLocks noChangeAspect="1" noChangeArrowheads="1"/>
            </p:cNvSpPr>
            <p:nvPr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1" name="Oval 693"/>
            <p:cNvSpPr>
              <a:spLocks noChangeAspect="1" noChangeArrowheads="1"/>
            </p:cNvSpPr>
            <p:nvPr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2" name="Oval 694"/>
            <p:cNvSpPr>
              <a:spLocks noChangeAspect="1" noChangeArrowheads="1"/>
            </p:cNvSpPr>
            <p:nvPr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3" name="Oval 695"/>
            <p:cNvSpPr>
              <a:spLocks noChangeAspect="1" noChangeArrowheads="1"/>
            </p:cNvSpPr>
            <p:nvPr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4" name="Oval 696"/>
            <p:cNvSpPr>
              <a:spLocks noChangeAspect="1" noChangeArrowheads="1"/>
            </p:cNvSpPr>
            <p:nvPr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5" name="Oval 697"/>
            <p:cNvSpPr>
              <a:spLocks noChangeAspect="1" noChangeArrowheads="1"/>
            </p:cNvSpPr>
            <p:nvPr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6" name="Oval 698"/>
            <p:cNvSpPr>
              <a:spLocks noChangeAspect="1" noChangeArrowheads="1"/>
            </p:cNvSpPr>
            <p:nvPr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7" name="Oval 699"/>
            <p:cNvSpPr>
              <a:spLocks noChangeAspect="1" noChangeArrowheads="1"/>
            </p:cNvSpPr>
            <p:nvPr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8" name="Oval 700"/>
            <p:cNvSpPr>
              <a:spLocks noChangeAspect="1" noChangeArrowheads="1"/>
            </p:cNvSpPr>
            <p:nvPr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9" name="Oval 701"/>
            <p:cNvSpPr>
              <a:spLocks noChangeAspect="1" noChangeArrowheads="1"/>
            </p:cNvSpPr>
            <p:nvPr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0" name="Oval 702"/>
            <p:cNvSpPr>
              <a:spLocks noChangeAspect="1" noChangeArrowheads="1"/>
            </p:cNvSpPr>
            <p:nvPr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1" name="Oval 703"/>
            <p:cNvSpPr>
              <a:spLocks noChangeAspect="1" noChangeArrowheads="1"/>
            </p:cNvSpPr>
            <p:nvPr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2" name="Oval 704"/>
            <p:cNvSpPr>
              <a:spLocks noChangeAspect="1" noChangeArrowheads="1"/>
            </p:cNvSpPr>
            <p:nvPr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3" name="Oval 705"/>
            <p:cNvSpPr>
              <a:spLocks noChangeAspect="1" noChangeArrowheads="1"/>
            </p:cNvSpPr>
            <p:nvPr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4" name="Oval 706"/>
            <p:cNvSpPr>
              <a:spLocks noChangeAspect="1" noChangeArrowheads="1"/>
            </p:cNvSpPr>
            <p:nvPr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5" name="Oval 707"/>
            <p:cNvSpPr>
              <a:spLocks noChangeAspect="1" noChangeArrowheads="1"/>
            </p:cNvSpPr>
            <p:nvPr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6" name="Oval 708"/>
            <p:cNvSpPr>
              <a:spLocks noChangeAspect="1" noChangeArrowheads="1"/>
            </p:cNvSpPr>
            <p:nvPr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7" name="Oval 709"/>
            <p:cNvSpPr>
              <a:spLocks noChangeAspect="1" noChangeArrowheads="1"/>
            </p:cNvSpPr>
            <p:nvPr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8" name="Oval 710"/>
            <p:cNvSpPr>
              <a:spLocks noChangeAspect="1" noChangeArrowheads="1"/>
            </p:cNvSpPr>
            <p:nvPr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9" name="Oval 711"/>
            <p:cNvSpPr>
              <a:spLocks noChangeAspect="1" noChangeArrowheads="1"/>
            </p:cNvSpPr>
            <p:nvPr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0" name="Oval 712"/>
            <p:cNvSpPr>
              <a:spLocks noChangeAspect="1" noChangeArrowheads="1"/>
            </p:cNvSpPr>
            <p:nvPr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1" name="Oval 713"/>
            <p:cNvSpPr>
              <a:spLocks noChangeAspect="1" noChangeArrowheads="1"/>
            </p:cNvSpPr>
            <p:nvPr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2" name="Oval 714"/>
            <p:cNvSpPr>
              <a:spLocks noChangeAspect="1" noChangeArrowheads="1"/>
            </p:cNvSpPr>
            <p:nvPr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3" name="Oval 715"/>
            <p:cNvSpPr>
              <a:spLocks noChangeAspect="1" noChangeArrowheads="1"/>
            </p:cNvSpPr>
            <p:nvPr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4" name="Oval 716"/>
            <p:cNvSpPr>
              <a:spLocks noChangeAspect="1" noChangeArrowheads="1"/>
            </p:cNvSpPr>
            <p:nvPr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5" name="Oval 717"/>
            <p:cNvSpPr>
              <a:spLocks noChangeAspect="1" noChangeArrowheads="1"/>
            </p:cNvSpPr>
            <p:nvPr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6" name="Oval 718"/>
            <p:cNvSpPr>
              <a:spLocks noChangeAspect="1" noChangeArrowheads="1"/>
            </p:cNvSpPr>
            <p:nvPr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7" name="Oval 719"/>
            <p:cNvSpPr>
              <a:spLocks noChangeAspect="1" noChangeArrowheads="1"/>
            </p:cNvSpPr>
            <p:nvPr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8" name="Oval 720"/>
            <p:cNvSpPr>
              <a:spLocks noChangeAspect="1" noChangeArrowheads="1"/>
            </p:cNvSpPr>
            <p:nvPr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9" name="Oval 721"/>
            <p:cNvSpPr>
              <a:spLocks noChangeAspect="1" noChangeArrowheads="1"/>
            </p:cNvSpPr>
            <p:nvPr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0" name="Oval 722"/>
            <p:cNvSpPr>
              <a:spLocks noChangeAspect="1" noChangeArrowheads="1"/>
            </p:cNvSpPr>
            <p:nvPr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1" name="Oval 723"/>
            <p:cNvSpPr>
              <a:spLocks noChangeAspect="1" noChangeArrowheads="1"/>
            </p:cNvSpPr>
            <p:nvPr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2" name="Oval 724"/>
            <p:cNvSpPr>
              <a:spLocks noChangeAspect="1" noChangeArrowheads="1"/>
            </p:cNvSpPr>
            <p:nvPr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3" name="Oval 725"/>
            <p:cNvSpPr>
              <a:spLocks noChangeAspect="1" noChangeArrowheads="1"/>
            </p:cNvSpPr>
            <p:nvPr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4" name="Oval 726"/>
            <p:cNvSpPr>
              <a:spLocks noChangeAspect="1" noChangeArrowheads="1"/>
            </p:cNvSpPr>
            <p:nvPr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5" name="Oval 727"/>
            <p:cNvSpPr>
              <a:spLocks noChangeAspect="1" noChangeArrowheads="1"/>
            </p:cNvSpPr>
            <p:nvPr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6" name="Oval 728"/>
            <p:cNvSpPr>
              <a:spLocks noChangeAspect="1" noChangeArrowheads="1"/>
            </p:cNvSpPr>
            <p:nvPr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7" name="Oval 729"/>
            <p:cNvSpPr>
              <a:spLocks noChangeAspect="1" noChangeArrowheads="1"/>
            </p:cNvSpPr>
            <p:nvPr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8" name="Oval 730"/>
            <p:cNvSpPr>
              <a:spLocks noChangeAspect="1" noChangeArrowheads="1"/>
            </p:cNvSpPr>
            <p:nvPr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9" name="Oval 731"/>
            <p:cNvSpPr>
              <a:spLocks noChangeAspect="1" noChangeArrowheads="1"/>
            </p:cNvSpPr>
            <p:nvPr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0" name="Oval 732"/>
            <p:cNvSpPr>
              <a:spLocks noChangeAspect="1" noChangeArrowheads="1"/>
            </p:cNvSpPr>
            <p:nvPr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1" name="Oval 733"/>
            <p:cNvSpPr>
              <a:spLocks noChangeAspect="1" noChangeArrowheads="1"/>
            </p:cNvSpPr>
            <p:nvPr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2" name="Oval 734"/>
            <p:cNvSpPr>
              <a:spLocks noChangeAspect="1" noChangeArrowheads="1"/>
            </p:cNvSpPr>
            <p:nvPr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3" name="Oval 735"/>
            <p:cNvSpPr>
              <a:spLocks noChangeAspect="1" noChangeArrowheads="1"/>
            </p:cNvSpPr>
            <p:nvPr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4" name="Oval 736"/>
            <p:cNvSpPr>
              <a:spLocks noChangeAspect="1" noChangeArrowheads="1"/>
            </p:cNvSpPr>
            <p:nvPr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5" name="Oval 737"/>
            <p:cNvSpPr>
              <a:spLocks noChangeAspect="1" noChangeArrowheads="1"/>
            </p:cNvSpPr>
            <p:nvPr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6" name="Oval 738"/>
            <p:cNvSpPr>
              <a:spLocks noChangeAspect="1" noChangeArrowheads="1"/>
            </p:cNvSpPr>
            <p:nvPr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7" name="Oval 739"/>
            <p:cNvSpPr>
              <a:spLocks noChangeAspect="1" noChangeArrowheads="1"/>
            </p:cNvSpPr>
            <p:nvPr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8" name="Oval 740"/>
            <p:cNvSpPr>
              <a:spLocks noChangeAspect="1" noChangeArrowheads="1"/>
            </p:cNvSpPr>
            <p:nvPr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9" name="Oval 741"/>
            <p:cNvSpPr>
              <a:spLocks noChangeAspect="1" noChangeArrowheads="1"/>
            </p:cNvSpPr>
            <p:nvPr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0" name="Oval 742"/>
            <p:cNvSpPr>
              <a:spLocks noChangeAspect="1" noChangeArrowheads="1"/>
            </p:cNvSpPr>
            <p:nvPr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1" name="Oval 743"/>
            <p:cNvSpPr>
              <a:spLocks noChangeAspect="1" noChangeArrowheads="1"/>
            </p:cNvSpPr>
            <p:nvPr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2" name="Oval 744"/>
            <p:cNvSpPr>
              <a:spLocks noChangeAspect="1" noChangeArrowheads="1"/>
            </p:cNvSpPr>
            <p:nvPr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3" name="Oval 745"/>
            <p:cNvSpPr>
              <a:spLocks noChangeAspect="1" noChangeArrowheads="1"/>
            </p:cNvSpPr>
            <p:nvPr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4" name="Oval 746"/>
            <p:cNvSpPr>
              <a:spLocks noChangeAspect="1" noChangeArrowheads="1"/>
            </p:cNvSpPr>
            <p:nvPr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5" name="Oval 747"/>
            <p:cNvSpPr>
              <a:spLocks noChangeAspect="1" noChangeArrowheads="1"/>
            </p:cNvSpPr>
            <p:nvPr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6" name="Oval 748"/>
            <p:cNvSpPr>
              <a:spLocks noChangeAspect="1" noChangeArrowheads="1"/>
            </p:cNvSpPr>
            <p:nvPr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7" name="Oval 749"/>
            <p:cNvSpPr>
              <a:spLocks noChangeAspect="1" noChangeArrowheads="1"/>
            </p:cNvSpPr>
            <p:nvPr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8" name="Oval 750"/>
            <p:cNvSpPr>
              <a:spLocks noChangeAspect="1" noChangeArrowheads="1"/>
            </p:cNvSpPr>
            <p:nvPr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9" name="Oval 751"/>
            <p:cNvSpPr>
              <a:spLocks noChangeAspect="1" noChangeArrowheads="1"/>
            </p:cNvSpPr>
            <p:nvPr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0" name="Oval 752"/>
            <p:cNvSpPr>
              <a:spLocks noChangeAspect="1" noChangeArrowheads="1"/>
            </p:cNvSpPr>
            <p:nvPr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1" name="Oval 753"/>
            <p:cNvSpPr>
              <a:spLocks noChangeAspect="1" noChangeArrowheads="1"/>
            </p:cNvSpPr>
            <p:nvPr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2" name="Oval 754"/>
            <p:cNvSpPr>
              <a:spLocks noChangeAspect="1" noChangeArrowheads="1"/>
            </p:cNvSpPr>
            <p:nvPr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3" name="Oval 755"/>
            <p:cNvSpPr>
              <a:spLocks noChangeAspect="1" noChangeArrowheads="1"/>
            </p:cNvSpPr>
            <p:nvPr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4" name="Oval 756"/>
            <p:cNvSpPr>
              <a:spLocks noChangeAspect="1" noChangeArrowheads="1"/>
            </p:cNvSpPr>
            <p:nvPr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5" name="Oval 757"/>
            <p:cNvSpPr>
              <a:spLocks noChangeAspect="1" noChangeArrowheads="1"/>
            </p:cNvSpPr>
            <p:nvPr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6" name="Oval 758"/>
            <p:cNvSpPr>
              <a:spLocks noChangeAspect="1" noChangeArrowheads="1"/>
            </p:cNvSpPr>
            <p:nvPr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7" name="Oval 759"/>
            <p:cNvSpPr>
              <a:spLocks noChangeAspect="1" noChangeArrowheads="1"/>
            </p:cNvSpPr>
            <p:nvPr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8" name="Oval 760"/>
            <p:cNvSpPr>
              <a:spLocks noChangeAspect="1" noChangeArrowheads="1"/>
            </p:cNvSpPr>
            <p:nvPr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9" name="Oval 761"/>
            <p:cNvSpPr>
              <a:spLocks noChangeAspect="1" noChangeArrowheads="1"/>
            </p:cNvSpPr>
            <p:nvPr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0" name="Oval 762"/>
            <p:cNvSpPr>
              <a:spLocks noChangeAspect="1" noChangeArrowheads="1"/>
            </p:cNvSpPr>
            <p:nvPr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1" name="Oval 763"/>
            <p:cNvSpPr>
              <a:spLocks noChangeAspect="1" noChangeArrowheads="1"/>
            </p:cNvSpPr>
            <p:nvPr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2" name="Oval 764"/>
            <p:cNvSpPr>
              <a:spLocks noChangeAspect="1" noChangeArrowheads="1"/>
            </p:cNvSpPr>
            <p:nvPr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3" name="Oval 765"/>
            <p:cNvSpPr>
              <a:spLocks noChangeAspect="1" noChangeArrowheads="1"/>
            </p:cNvSpPr>
            <p:nvPr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4" name="Oval 766"/>
            <p:cNvSpPr>
              <a:spLocks noChangeAspect="1" noChangeArrowheads="1"/>
            </p:cNvSpPr>
            <p:nvPr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5" name="Oval 767"/>
            <p:cNvSpPr>
              <a:spLocks noChangeAspect="1" noChangeArrowheads="1"/>
            </p:cNvSpPr>
            <p:nvPr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6" name="Oval 768"/>
            <p:cNvSpPr>
              <a:spLocks noChangeAspect="1" noChangeArrowheads="1"/>
            </p:cNvSpPr>
            <p:nvPr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7" name="Oval 769"/>
            <p:cNvSpPr>
              <a:spLocks noChangeAspect="1" noChangeArrowheads="1"/>
            </p:cNvSpPr>
            <p:nvPr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8" name="Oval 770"/>
            <p:cNvSpPr>
              <a:spLocks noChangeAspect="1" noChangeArrowheads="1"/>
            </p:cNvSpPr>
            <p:nvPr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9" name="Oval 771"/>
            <p:cNvSpPr>
              <a:spLocks noChangeAspect="1" noChangeArrowheads="1"/>
            </p:cNvSpPr>
            <p:nvPr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0" name="Oval 772"/>
            <p:cNvSpPr>
              <a:spLocks noChangeAspect="1" noChangeArrowheads="1"/>
            </p:cNvSpPr>
            <p:nvPr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1" name="Oval 773"/>
            <p:cNvSpPr>
              <a:spLocks noChangeAspect="1" noChangeArrowheads="1"/>
            </p:cNvSpPr>
            <p:nvPr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2" name="Oval 774"/>
            <p:cNvSpPr>
              <a:spLocks noChangeAspect="1" noChangeArrowheads="1"/>
            </p:cNvSpPr>
            <p:nvPr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3" name="Oval 775"/>
            <p:cNvSpPr>
              <a:spLocks noChangeAspect="1" noChangeArrowheads="1"/>
            </p:cNvSpPr>
            <p:nvPr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4" name="Oval 776"/>
            <p:cNvSpPr>
              <a:spLocks noChangeAspect="1" noChangeArrowheads="1"/>
            </p:cNvSpPr>
            <p:nvPr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5" name="Oval 777"/>
            <p:cNvSpPr>
              <a:spLocks noChangeAspect="1" noChangeArrowheads="1"/>
            </p:cNvSpPr>
            <p:nvPr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6" name="Oval 778"/>
            <p:cNvSpPr>
              <a:spLocks noChangeAspect="1" noChangeArrowheads="1"/>
            </p:cNvSpPr>
            <p:nvPr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7" name="Oval 779"/>
            <p:cNvSpPr>
              <a:spLocks noChangeAspect="1" noChangeArrowheads="1"/>
            </p:cNvSpPr>
            <p:nvPr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8" name="Oval 780"/>
            <p:cNvSpPr>
              <a:spLocks noChangeAspect="1" noChangeArrowheads="1"/>
            </p:cNvSpPr>
            <p:nvPr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9" name="Oval 781"/>
            <p:cNvSpPr>
              <a:spLocks noChangeAspect="1" noChangeArrowheads="1"/>
            </p:cNvSpPr>
            <p:nvPr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0" name="Oval 782"/>
            <p:cNvSpPr>
              <a:spLocks noChangeAspect="1" noChangeArrowheads="1"/>
            </p:cNvSpPr>
            <p:nvPr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1" name="Oval 783"/>
            <p:cNvSpPr>
              <a:spLocks noChangeAspect="1" noChangeArrowheads="1"/>
            </p:cNvSpPr>
            <p:nvPr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2" name="Oval 784"/>
            <p:cNvSpPr>
              <a:spLocks noChangeAspect="1" noChangeArrowheads="1"/>
            </p:cNvSpPr>
            <p:nvPr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3" name="Oval 785"/>
            <p:cNvSpPr>
              <a:spLocks noChangeAspect="1" noChangeArrowheads="1"/>
            </p:cNvSpPr>
            <p:nvPr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4" name="Oval 786"/>
            <p:cNvSpPr>
              <a:spLocks noChangeAspect="1" noChangeArrowheads="1"/>
            </p:cNvSpPr>
            <p:nvPr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5" name="Oval 787"/>
            <p:cNvSpPr>
              <a:spLocks noChangeAspect="1" noChangeArrowheads="1"/>
            </p:cNvSpPr>
            <p:nvPr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6" name="Oval 788"/>
            <p:cNvSpPr>
              <a:spLocks noChangeAspect="1" noChangeArrowheads="1"/>
            </p:cNvSpPr>
            <p:nvPr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7" name="Oval 789"/>
            <p:cNvSpPr>
              <a:spLocks noChangeAspect="1" noChangeArrowheads="1"/>
            </p:cNvSpPr>
            <p:nvPr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8" name="Oval 790"/>
            <p:cNvSpPr>
              <a:spLocks noChangeAspect="1" noChangeArrowheads="1"/>
            </p:cNvSpPr>
            <p:nvPr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9" name="Oval 791"/>
            <p:cNvSpPr>
              <a:spLocks noChangeAspect="1" noChangeArrowheads="1"/>
            </p:cNvSpPr>
            <p:nvPr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0" name="Oval 792"/>
            <p:cNvSpPr>
              <a:spLocks noChangeAspect="1" noChangeArrowheads="1"/>
            </p:cNvSpPr>
            <p:nvPr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1" name="Oval 793"/>
            <p:cNvSpPr>
              <a:spLocks noChangeAspect="1" noChangeArrowheads="1"/>
            </p:cNvSpPr>
            <p:nvPr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2" name="Oval 794"/>
            <p:cNvSpPr>
              <a:spLocks noChangeAspect="1" noChangeArrowheads="1"/>
            </p:cNvSpPr>
            <p:nvPr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3" name="Oval 795"/>
            <p:cNvSpPr>
              <a:spLocks noChangeAspect="1" noChangeArrowheads="1"/>
            </p:cNvSpPr>
            <p:nvPr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4" name="Oval 796"/>
            <p:cNvSpPr>
              <a:spLocks noChangeAspect="1" noChangeArrowheads="1"/>
            </p:cNvSpPr>
            <p:nvPr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5" name="Oval 797"/>
            <p:cNvSpPr>
              <a:spLocks noChangeAspect="1" noChangeArrowheads="1"/>
            </p:cNvSpPr>
            <p:nvPr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6" name="Oval 798"/>
            <p:cNvSpPr>
              <a:spLocks noChangeAspect="1" noChangeArrowheads="1"/>
            </p:cNvSpPr>
            <p:nvPr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7" name="Oval 799"/>
            <p:cNvSpPr>
              <a:spLocks noChangeAspect="1" noChangeArrowheads="1"/>
            </p:cNvSpPr>
            <p:nvPr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8" name="Oval 800"/>
            <p:cNvSpPr>
              <a:spLocks noChangeAspect="1" noChangeArrowheads="1"/>
            </p:cNvSpPr>
            <p:nvPr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9" name="Oval 801"/>
            <p:cNvSpPr>
              <a:spLocks noChangeAspect="1" noChangeArrowheads="1"/>
            </p:cNvSpPr>
            <p:nvPr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0" name="Oval 802"/>
            <p:cNvSpPr>
              <a:spLocks noChangeAspect="1" noChangeArrowheads="1"/>
            </p:cNvSpPr>
            <p:nvPr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1" name="Oval 803"/>
            <p:cNvSpPr>
              <a:spLocks noChangeAspect="1" noChangeArrowheads="1"/>
            </p:cNvSpPr>
            <p:nvPr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2" name="Oval 804"/>
            <p:cNvSpPr>
              <a:spLocks noChangeAspect="1" noChangeArrowheads="1"/>
            </p:cNvSpPr>
            <p:nvPr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3" name="Oval 805"/>
            <p:cNvSpPr>
              <a:spLocks noChangeAspect="1" noChangeArrowheads="1"/>
            </p:cNvSpPr>
            <p:nvPr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4" name="Oval 806"/>
            <p:cNvSpPr>
              <a:spLocks noChangeAspect="1" noChangeArrowheads="1"/>
            </p:cNvSpPr>
            <p:nvPr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5" name="Oval 807"/>
            <p:cNvSpPr>
              <a:spLocks noChangeAspect="1" noChangeArrowheads="1"/>
            </p:cNvSpPr>
            <p:nvPr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6" name="Oval 808"/>
            <p:cNvSpPr>
              <a:spLocks noChangeAspect="1" noChangeArrowheads="1"/>
            </p:cNvSpPr>
            <p:nvPr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7" name="Oval 809"/>
            <p:cNvSpPr>
              <a:spLocks noChangeAspect="1" noChangeArrowheads="1"/>
            </p:cNvSpPr>
            <p:nvPr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8" name="Oval 810"/>
            <p:cNvSpPr>
              <a:spLocks noChangeAspect="1" noChangeArrowheads="1"/>
            </p:cNvSpPr>
            <p:nvPr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9" name="Oval 811"/>
            <p:cNvSpPr>
              <a:spLocks noChangeAspect="1" noChangeArrowheads="1"/>
            </p:cNvSpPr>
            <p:nvPr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0" name="Oval 812"/>
            <p:cNvSpPr>
              <a:spLocks noChangeAspect="1" noChangeArrowheads="1"/>
            </p:cNvSpPr>
            <p:nvPr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1" name="Oval 813"/>
            <p:cNvSpPr>
              <a:spLocks noChangeAspect="1" noChangeArrowheads="1"/>
            </p:cNvSpPr>
            <p:nvPr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2" name="Oval 814"/>
            <p:cNvSpPr>
              <a:spLocks noChangeAspect="1" noChangeArrowheads="1"/>
            </p:cNvSpPr>
            <p:nvPr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3" name="Oval 815"/>
            <p:cNvSpPr>
              <a:spLocks noChangeAspect="1" noChangeArrowheads="1"/>
            </p:cNvSpPr>
            <p:nvPr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4" name="Oval 816"/>
            <p:cNvSpPr>
              <a:spLocks noChangeAspect="1" noChangeArrowheads="1"/>
            </p:cNvSpPr>
            <p:nvPr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5" name="Oval 817"/>
            <p:cNvSpPr>
              <a:spLocks noChangeAspect="1" noChangeArrowheads="1"/>
            </p:cNvSpPr>
            <p:nvPr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6" name="Oval 818"/>
            <p:cNvSpPr>
              <a:spLocks noChangeAspect="1" noChangeArrowheads="1"/>
            </p:cNvSpPr>
            <p:nvPr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7" name="Oval 819"/>
            <p:cNvSpPr>
              <a:spLocks noChangeAspect="1" noChangeArrowheads="1"/>
            </p:cNvSpPr>
            <p:nvPr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8" name="Oval 820"/>
            <p:cNvSpPr>
              <a:spLocks noChangeAspect="1" noChangeArrowheads="1"/>
            </p:cNvSpPr>
            <p:nvPr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9" name="Oval 821"/>
            <p:cNvSpPr>
              <a:spLocks noChangeAspect="1" noChangeArrowheads="1"/>
            </p:cNvSpPr>
            <p:nvPr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0" name="Oval 822"/>
            <p:cNvSpPr>
              <a:spLocks noChangeAspect="1" noChangeArrowheads="1"/>
            </p:cNvSpPr>
            <p:nvPr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1" name="Oval 823"/>
            <p:cNvSpPr>
              <a:spLocks noChangeAspect="1" noChangeArrowheads="1"/>
            </p:cNvSpPr>
            <p:nvPr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2" name="Oval 824"/>
            <p:cNvSpPr>
              <a:spLocks noChangeAspect="1" noChangeArrowheads="1"/>
            </p:cNvSpPr>
            <p:nvPr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3" name="Oval 825"/>
            <p:cNvSpPr>
              <a:spLocks noChangeAspect="1" noChangeArrowheads="1"/>
            </p:cNvSpPr>
            <p:nvPr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4" name="Oval 826"/>
            <p:cNvSpPr>
              <a:spLocks noChangeAspect="1" noChangeArrowheads="1"/>
            </p:cNvSpPr>
            <p:nvPr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5" name="Oval 827"/>
            <p:cNvSpPr>
              <a:spLocks noChangeAspect="1" noChangeArrowheads="1"/>
            </p:cNvSpPr>
            <p:nvPr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6" name="Oval 828"/>
            <p:cNvSpPr>
              <a:spLocks noChangeAspect="1" noChangeArrowheads="1"/>
            </p:cNvSpPr>
            <p:nvPr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7" name="Oval 829"/>
            <p:cNvSpPr>
              <a:spLocks noChangeAspect="1" noChangeArrowheads="1"/>
            </p:cNvSpPr>
            <p:nvPr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8" name="Oval 830"/>
            <p:cNvSpPr>
              <a:spLocks noChangeAspect="1" noChangeArrowheads="1"/>
            </p:cNvSpPr>
            <p:nvPr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9" name="Oval 831"/>
            <p:cNvSpPr>
              <a:spLocks noChangeAspect="1" noChangeArrowheads="1"/>
            </p:cNvSpPr>
            <p:nvPr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0" name="Oval 832"/>
            <p:cNvSpPr>
              <a:spLocks noChangeAspect="1" noChangeArrowheads="1"/>
            </p:cNvSpPr>
            <p:nvPr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1" name="Oval 833"/>
            <p:cNvSpPr>
              <a:spLocks noChangeAspect="1" noChangeArrowheads="1"/>
            </p:cNvSpPr>
            <p:nvPr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2" name="Oval 834"/>
            <p:cNvSpPr>
              <a:spLocks noChangeAspect="1" noChangeArrowheads="1"/>
            </p:cNvSpPr>
            <p:nvPr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3" name="Oval 835"/>
            <p:cNvSpPr>
              <a:spLocks noChangeAspect="1" noChangeArrowheads="1"/>
            </p:cNvSpPr>
            <p:nvPr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4" name="Oval 836"/>
            <p:cNvSpPr>
              <a:spLocks noChangeAspect="1" noChangeArrowheads="1"/>
            </p:cNvSpPr>
            <p:nvPr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5" name="Oval 837"/>
            <p:cNvSpPr>
              <a:spLocks noChangeAspect="1" noChangeArrowheads="1"/>
            </p:cNvSpPr>
            <p:nvPr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6" name="Oval 838"/>
            <p:cNvSpPr>
              <a:spLocks noChangeAspect="1" noChangeArrowheads="1"/>
            </p:cNvSpPr>
            <p:nvPr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7" name="Oval 839"/>
            <p:cNvSpPr>
              <a:spLocks noChangeAspect="1" noChangeArrowheads="1"/>
            </p:cNvSpPr>
            <p:nvPr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8" name="Oval 840"/>
            <p:cNvSpPr>
              <a:spLocks noChangeAspect="1" noChangeArrowheads="1"/>
            </p:cNvSpPr>
            <p:nvPr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9" name="Oval 841"/>
            <p:cNvSpPr>
              <a:spLocks noChangeAspect="1" noChangeArrowheads="1"/>
            </p:cNvSpPr>
            <p:nvPr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0" name="Oval 842"/>
            <p:cNvSpPr>
              <a:spLocks noChangeAspect="1" noChangeArrowheads="1"/>
            </p:cNvSpPr>
            <p:nvPr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1" name="Oval 843"/>
            <p:cNvSpPr>
              <a:spLocks noChangeAspect="1" noChangeArrowheads="1"/>
            </p:cNvSpPr>
            <p:nvPr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2" name="Oval 844"/>
            <p:cNvSpPr>
              <a:spLocks noChangeAspect="1" noChangeArrowheads="1"/>
            </p:cNvSpPr>
            <p:nvPr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3" name="Oval 845"/>
            <p:cNvSpPr>
              <a:spLocks noChangeAspect="1" noChangeArrowheads="1"/>
            </p:cNvSpPr>
            <p:nvPr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4" name="Oval 846"/>
            <p:cNvSpPr>
              <a:spLocks noChangeAspect="1" noChangeArrowheads="1"/>
            </p:cNvSpPr>
            <p:nvPr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5" name="Oval 847"/>
            <p:cNvSpPr>
              <a:spLocks noChangeAspect="1" noChangeArrowheads="1"/>
            </p:cNvSpPr>
            <p:nvPr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6" name="Oval 848"/>
            <p:cNvSpPr>
              <a:spLocks noChangeAspect="1" noChangeArrowheads="1"/>
            </p:cNvSpPr>
            <p:nvPr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7" name="Oval 849"/>
            <p:cNvSpPr>
              <a:spLocks noChangeAspect="1" noChangeArrowheads="1"/>
            </p:cNvSpPr>
            <p:nvPr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8" name="Oval 850"/>
            <p:cNvSpPr>
              <a:spLocks noChangeAspect="1" noChangeArrowheads="1"/>
            </p:cNvSpPr>
            <p:nvPr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9" name="Oval 851"/>
            <p:cNvSpPr>
              <a:spLocks noChangeAspect="1" noChangeArrowheads="1"/>
            </p:cNvSpPr>
            <p:nvPr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0" name="Oval 852"/>
            <p:cNvSpPr>
              <a:spLocks noChangeAspect="1" noChangeArrowheads="1"/>
            </p:cNvSpPr>
            <p:nvPr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1" name="Oval 853"/>
            <p:cNvSpPr>
              <a:spLocks noChangeAspect="1" noChangeArrowheads="1"/>
            </p:cNvSpPr>
            <p:nvPr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2" name="Oval 854"/>
            <p:cNvSpPr>
              <a:spLocks noChangeAspect="1" noChangeArrowheads="1"/>
            </p:cNvSpPr>
            <p:nvPr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3" name="Oval 855"/>
            <p:cNvSpPr>
              <a:spLocks noChangeAspect="1" noChangeArrowheads="1"/>
            </p:cNvSpPr>
            <p:nvPr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4" name="Oval 856"/>
            <p:cNvSpPr>
              <a:spLocks noChangeAspect="1" noChangeArrowheads="1"/>
            </p:cNvSpPr>
            <p:nvPr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5" name="Oval 857"/>
            <p:cNvSpPr>
              <a:spLocks noChangeAspect="1" noChangeArrowheads="1"/>
            </p:cNvSpPr>
            <p:nvPr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6" name="Oval 858"/>
            <p:cNvSpPr>
              <a:spLocks noChangeAspect="1" noChangeArrowheads="1"/>
            </p:cNvSpPr>
            <p:nvPr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7" name="Oval 859"/>
            <p:cNvSpPr>
              <a:spLocks noChangeAspect="1" noChangeArrowheads="1"/>
            </p:cNvSpPr>
            <p:nvPr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8" name="Oval 860"/>
            <p:cNvSpPr>
              <a:spLocks noChangeAspect="1" noChangeArrowheads="1"/>
            </p:cNvSpPr>
            <p:nvPr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9" name="Oval 861"/>
            <p:cNvSpPr>
              <a:spLocks noChangeAspect="1" noChangeArrowheads="1"/>
            </p:cNvSpPr>
            <p:nvPr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0" name="Oval 862"/>
            <p:cNvSpPr>
              <a:spLocks noChangeAspect="1" noChangeArrowheads="1"/>
            </p:cNvSpPr>
            <p:nvPr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1" name="Oval 863"/>
            <p:cNvSpPr>
              <a:spLocks noChangeAspect="1" noChangeArrowheads="1"/>
            </p:cNvSpPr>
            <p:nvPr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2" name="Oval 864"/>
            <p:cNvSpPr>
              <a:spLocks noChangeAspect="1" noChangeArrowheads="1"/>
            </p:cNvSpPr>
            <p:nvPr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3" name="Oval 865"/>
            <p:cNvSpPr>
              <a:spLocks noChangeAspect="1" noChangeArrowheads="1"/>
            </p:cNvSpPr>
            <p:nvPr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4" name="Oval 866"/>
            <p:cNvSpPr>
              <a:spLocks noChangeAspect="1" noChangeArrowheads="1"/>
            </p:cNvSpPr>
            <p:nvPr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5" name="Oval 867"/>
            <p:cNvSpPr>
              <a:spLocks noChangeAspect="1" noChangeArrowheads="1"/>
            </p:cNvSpPr>
            <p:nvPr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6" name="Oval 868"/>
            <p:cNvSpPr>
              <a:spLocks noChangeAspect="1" noChangeArrowheads="1"/>
            </p:cNvSpPr>
            <p:nvPr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7" name="Oval 869"/>
            <p:cNvSpPr>
              <a:spLocks noChangeAspect="1" noChangeArrowheads="1"/>
            </p:cNvSpPr>
            <p:nvPr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8" name="Oval 870"/>
            <p:cNvSpPr>
              <a:spLocks noChangeAspect="1" noChangeArrowheads="1"/>
            </p:cNvSpPr>
            <p:nvPr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9" name="Oval 871"/>
            <p:cNvSpPr>
              <a:spLocks noChangeAspect="1" noChangeArrowheads="1"/>
            </p:cNvSpPr>
            <p:nvPr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0" name="Oval 872"/>
            <p:cNvSpPr>
              <a:spLocks noChangeAspect="1" noChangeArrowheads="1"/>
            </p:cNvSpPr>
            <p:nvPr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1" name="Oval 873"/>
            <p:cNvSpPr>
              <a:spLocks noChangeAspect="1" noChangeArrowheads="1"/>
            </p:cNvSpPr>
            <p:nvPr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2" name="Oval 874"/>
            <p:cNvSpPr>
              <a:spLocks noChangeAspect="1" noChangeArrowheads="1"/>
            </p:cNvSpPr>
            <p:nvPr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3" name="Oval 875"/>
            <p:cNvSpPr>
              <a:spLocks noChangeAspect="1" noChangeArrowheads="1"/>
            </p:cNvSpPr>
            <p:nvPr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4" name="Oval 876"/>
            <p:cNvSpPr>
              <a:spLocks noChangeAspect="1" noChangeArrowheads="1"/>
            </p:cNvSpPr>
            <p:nvPr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5" name="Oval 877"/>
            <p:cNvSpPr>
              <a:spLocks noChangeAspect="1" noChangeArrowheads="1"/>
            </p:cNvSpPr>
            <p:nvPr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6" name="Oval 878"/>
            <p:cNvSpPr>
              <a:spLocks noChangeAspect="1" noChangeArrowheads="1"/>
            </p:cNvSpPr>
            <p:nvPr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7" name="Oval 879"/>
            <p:cNvSpPr>
              <a:spLocks noChangeAspect="1" noChangeArrowheads="1"/>
            </p:cNvSpPr>
            <p:nvPr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8" name="Oval 880"/>
            <p:cNvSpPr>
              <a:spLocks noChangeAspect="1" noChangeArrowheads="1"/>
            </p:cNvSpPr>
            <p:nvPr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9" name="Oval 881"/>
            <p:cNvSpPr>
              <a:spLocks noChangeAspect="1" noChangeArrowheads="1"/>
            </p:cNvSpPr>
            <p:nvPr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0" name="Oval 882"/>
            <p:cNvSpPr>
              <a:spLocks noChangeAspect="1" noChangeArrowheads="1"/>
            </p:cNvSpPr>
            <p:nvPr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1" name="Oval 883"/>
            <p:cNvSpPr>
              <a:spLocks noChangeAspect="1" noChangeArrowheads="1"/>
            </p:cNvSpPr>
            <p:nvPr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2" name="Oval 884"/>
            <p:cNvSpPr>
              <a:spLocks noChangeAspect="1" noChangeArrowheads="1"/>
            </p:cNvSpPr>
            <p:nvPr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3" name="Oval 885"/>
            <p:cNvSpPr>
              <a:spLocks noChangeAspect="1" noChangeArrowheads="1"/>
            </p:cNvSpPr>
            <p:nvPr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4" name="Oval 886"/>
            <p:cNvSpPr>
              <a:spLocks noChangeAspect="1" noChangeArrowheads="1"/>
            </p:cNvSpPr>
            <p:nvPr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5" name="Oval 887"/>
            <p:cNvSpPr>
              <a:spLocks noChangeAspect="1" noChangeArrowheads="1"/>
            </p:cNvSpPr>
            <p:nvPr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6" name="Oval 888"/>
            <p:cNvSpPr>
              <a:spLocks noChangeAspect="1" noChangeArrowheads="1"/>
            </p:cNvSpPr>
            <p:nvPr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7" name="Oval 889"/>
            <p:cNvSpPr>
              <a:spLocks noChangeAspect="1" noChangeArrowheads="1"/>
            </p:cNvSpPr>
            <p:nvPr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8" name="Oval 890"/>
            <p:cNvSpPr>
              <a:spLocks noChangeAspect="1" noChangeArrowheads="1"/>
            </p:cNvSpPr>
            <p:nvPr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9" name="Oval 891"/>
            <p:cNvSpPr>
              <a:spLocks noChangeAspect="1" noChangeArrowheads="1"/>
            </p:cNvSpPr>
            <p:nvPr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0" name="Oval 892"/>
            <p:cNvSpPr>
              <a:spLocks noChangeAspect="1" noChangeArrowheads="1"/>
            </p:cNvSpPr>
            <p:nvPr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1" name="Oval 893"/>
            <p:cNvSpPr>
              <a:spLocks noChangeAspect="1" noChangeArrowheads="1"/>
            </p:cNvSpPr>
            <p:nvPr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2" name="Oval 894"/>
            <p:cNvSpPr>
              <a:spLocks noChangeAspect="1" noChangeArrowheads="1"/>
            </p:cNvSpPr>
            <p:nvPr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3" name="Oval 895"/>
            <p:cNvSpPr>
              <a:spLocks noChangeAspect="1" noChangeArrowheads="1"/>
            </p:cNvSpPr>
            <p:nvPr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4" name="Oval 896"/>
            <p:cNvSpPr>
              <a:spLocks noChangeAspect="1" noChangeArrowheads="1"/>
            </p:cNvSpPr>
            <p:nvPr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5" name="Oval 897"/>
            <p:cNvSpPr>
              <a:spLocks noChangeAspect="1" noChangeArrowheads="1"/>
            </p:cNvSpPr>
            <p:nvPr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6" name="Oval 898"/>
            <p:cNvSpPr>
              <a:spLocks noChangeAspect="1" noChangeArrowheads="1"/>
            </p:cNvSpPr>
            <p:nvPr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7" name="Oval 899"/>
            <p:cNvSpPr>
              <a:spLocks noChangeAspect="1" noChangeArrowheads="1"/>
            </p:cNvSpPr>
            <p:nvPr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8" name="Oval 900"/>
            <p:cNvSpPr>
              <a:spLocks noChangeAspect="1" noChangeArrowheads="1"/>
            </p:cNvSpPr>
            <p:nvPr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9" name="Oval 901"/>
            <p:cNvSpPr>
              <a:spLocks noChangeAspect="1" noChangeArrowheads="1"/>
            </p:cNvSpPr>
            <p:nvPr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0" name="Oval 902"/>
            <p:cNvSpPr>
              <a:spLocks noChangeAspect="1" noChangeArrowheads="1"/>
            </p:cNvSpPr>
            <p:nvPr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1" name="Oval 903"/>
            <p:cNvSpPr>
              <a:spLocks noChangeAspect="1" noChangeArrowheads="1"/>
            </p:cNvSpPr>
            <p:nvPr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2" name="Oval 904"/>
            <p:cNvSpPr>
              <a:spLocks noChangeAspect="1" noChangeArrowheads="1"/>
            </p:cNvSpPr>
            <p:nvPr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3" name="Oval 905"/>
            <p:cNvSpPr>
              <a:spLocks noChangeAspect="1" noChangeArrowheads="1"/>
            </p:cNvSpPr>
            <p:nvPr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4" name="Oval 906"/>
            <p:cNvSpPr>
              <a:spLocks noChangeAspect="1" noChangeArrowheads="1"/>
            </p:cNvSpPr>
            <p:nvPr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5" name="Oval 907"/>
            <p:cNvSpPr>
              <a:spLocks noChangeAspect="1" noChangeArrowheads="1"/>
            </p:cNvSpPr>
            <p:nvPr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6" name="Oval 908"/>
            <p:cNvSpPr>
              <a:spLocks noChangeAspect="1" noChangeArrowheads="1"/>
            </p:cNvSpPr>
            <p:nvPr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7" name="Oval 909"/>
            <p:cNvSpPr>
              <a:spLocks noChangeAspect="1" noChangeArrowheads="1"/>
            </p:cNvSpPr>
            <p:nvPr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8" name="Oval 910"/>
            <p:cNvSpPr>
              <a:spLocks noChangeAspect="1" noChangeArrowheads="1"/>
            </p:cNvSpPr>
            <p:nvPr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9" name="Oval 911"/>
            <p:cNvSpPr>
              <a:spLocks noChangeAspect="1" noChangeArrowheads="1"/>
            </p:cNvSpPr>
            <p:nvPr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0" name="Oval 912"/>
            <p:cNvSpPr>
              <a:spLocks noChangeAspect="1" noChangeArrowheads="1"/>
            </p:cNvSpPr>
            <p:nvPr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1" name="Oval 913"/>
            <p:cNvSpPr>
              <a:spLocks noChangeAspect="1" noChangeArrowheads="1"/>
            </p:cNvSpPr>
            <p:nvPr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2" name="Oval 914"/>
            <p:cNvSpPr>
              <a:spLocks noChangeAspect="1" noChangeArrowheads="1"/>
            </p:cNvSpPr>
            <p:nvPr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3" name="Oval 915"/>
            <p:cNvSpPr>
              <a:spLocks noChangeAspect="1" noChangeArrowheads="1"/>
            </p:cNvSpPr>
            <p:nvPr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4" name="Oval 916"/>
            <p:cNvSpPr>
              <a:spLocks noChangeAspect="1" noChangeArrowheads="1"/>
            </p:cNvSpPr>
            <p:nvPr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5" name="Oval 917"/>
            <p:cNvSpPr>
              <a:spLocks noChangeAspect="1" noChangeArrowheads="1"/>
            </p:cNvSpPr>
            <p:nvPr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6" name="Oval 918"/>
            <p:cNvSpPr>
              <a:spLocks noChangeAspect="1" noChangeArrowheads="1"/>
            </p:cNvSpPr>
            <p:nvPr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7" name="Oval 919"/>
            <p:cNvSpPr>
              <a:spLocks noChangeAspect="1" noChangeArrowheads="1"/>
            </p:cNvSpPr>
            <p:nvPr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8" name="Oval 920"/>
            <p:cNvSpPr>
              <a:spLocks noChangeAspect="1" noChangeArrowheads="1"/>
            </p:cNvSpPr>
            <p:nvPr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9" name="Oval 921"/>
            <p:cNvSpPr>
              <a:spLocks noChangeAspect="1" noChangeArrowheads="1"/>
            </p:cNvSpPr>
            <p:nvPr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0" name="Oval 922"/>
            <p:cNvSpPr>
              <a:spLocks noChangeAspect="1" noChangeArrowheads="1"/>
            </p:cNvSpPr>
            <p:nvPr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1" name="Oval 923"/>
            <p:cNvSpPr>
              <a:spLocks noChangeAspect="1" noChangeArrowheads="1"/>
            </p:cNvSpPr>
            <p:nvPr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2" name="Oval 924"/>
            <p:cNvSpPr>
              <a:spLocks noChangeAspect="1" noChangeArrowheads="1"/>
            </p:cNvSpPr>
            <p:nvPr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3" name="Oval 925"/>
            <p:cNvSpPr>
              <a:spLocks noChangeAspect="1" noChangeArrowheads="1"/>
            </p:cNvSpPr>
            <p:nvPr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4" name="Oval 926"/>
            <p:cNvSpPr>
              <a:spLocks noChangeAspect="1" noChangeArrowheads="1"/>
            </p:cNvSpPr>
            <p:nvPr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5" name="Oval 927"/>
            <p:cNvSpPr>
              <a:spLocks noChangeAspect="1" noChangeArrowheads="1"/>
            </p:cNvSpPr>
            <p:nvPr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6" name="Oval 928"/>
            <p:cNvSpPr>
              <a:spLocks noChangeAspect="1" noChangeArrowheads="1"/>
            </p:cNvSpPr>
            <p:nvPr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7" name="Oval 929"/>
            <p:cNvSpPr>
              <a:spLocks noChangeAspect="1" noChangeArrowheads="1"/>
            </p:cNvSpPr>
            <p:nvPr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8" name="Oval 930"/>
            <p:cNvSpPr>
              <a:spLocks noChangeAspect="1" noChangeArrowheads="1"/>
            </p:cNvSpPr>
            <p:nvPr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9" name="Oval 931"/>
            <p:cNvSpPr>
              <a:spLocks noChangeAspect="1" noChangeArrowheads="1"/>
            </p:cNvSpPr>
            <p:nvPr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0" name="Oval 932"/>
            <p:cNvSpPr>
              <a:spLocks noChangeAspect="1" noChangeArrowheads="1"/>
            </p:cNvSpPr>
            <p:nvPr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1" name="Oval 933"/>
            <p:cNvSpPr>
              <a:spLocks noChangeAspect="1" noChangeArrowheads="1"/>
            </p:cNvSpPr>
            <p:nvPr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2" name="Oval 934"/>
            <p:cNvSpPr>
              <a:spLocks noChangeAspect="1" noChangeArrowheads="1"/>
            </p:cNvSpPr>
            <p:nvPr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3" name="Oval 935"/>
            <p:cNvSpPr>
              <a:spLocks noChangeAspect="1" noChangeArrowheads="1"/>
            </p:cNvSpPr>
            <p:nvPr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4" name="Oval 936"/>
            <p:cNvSpPr>
              <a:spLocks noChangeAspect="1" noChangeArrowheads="1"/>
            </p:cNvSpPr>
            <p:nvPr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5" name="Oval 937"/>
            <p:cNvSpPr>
              <a:spLocks noChangeAspect="1" noChangeArrowheads="1"/>
            </p:cNvSpPr>
            <p:nvPr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6" name="Oval 938"/>
            <p:cNvSpPr>
              <a:spLocks noChangeAspect="1" noChangeArrowheads="1"/>
            </p:cNvSpPr>
            <p:nvPr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7" name="Oval 939"/>
            <p:cNvSpPr>
              <a:spLocks noChangeAspect="1" noChangeArrowheads="1"/>
            </p:cNvSpPr>
            <p:nvPr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8" name="Oval 940"/>
            <p:cNvSpPr>
              <a:spLocks noChangeAspect="1" noChangeArrowheads="1"/>
            </p:cNvSpPr>
            <p:nvPr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9" name="Oval 941"/>
            <p:cNvSpPr>
              <a:spLocks noChangeAspect="1" noChangeArrowheads="1"/>
            </p:cNvSpPr>
            <p:nvPr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0" name="Oval 942"/>
            <p:cNvSpPr>
              <a:spLocks noChangeAspect="1" noChangeArrowheads="1"/>
            </p:cNvSpPr>
            <p:nvPr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1" name="Oval 943"/>
            <p:cNvSpPr>
              <a:spLocks noChangeAspect="1" noChangeArrowheads="1"/>
            </p:cNvSpPr>
            <p:nvPr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2" name="Oval 944"/>
            <p:cNvSpPr>
              <a:spLocks noChangeAspect="1" noChangeArrowheads="1"/>
            </p:cNvSpPr>
            <p:nvPr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3" name="Oval 945"/>
            <p:cNvSpPr>
              <a:spLocks noChangeAspect="1" noChangeArrowheads="1"/>
            </p:cNvSpPr>
            <p:nvPr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4" name="Oval 946"/>
            <p:cNvSpPr>
              <a:spLocks noChangeAspect="1" noChangeArrowheads="1"/>
            </p:cNvSpPr>
            <p:nvPr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5" name="Oval 947"/>
            <p:cNvSpPr>
              <a:spLocks noChangeAspect="1" noChangeArrowheads="1"/>
            </p:cNvSpPr>
            <p:nvPr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6" name="Oval 948"/>
            <p:cNvSpPr>
              <a:spLocks noChangeAspect="1" noChangeArrowheads="1"/>
            </p:cNvSpPr>
            <p:nvPr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7" name="Oval 949"/>
            <p:cNvSpPr>
              <a:spLocks noChangeAspect="1" noChangeArrowheads="1"/>
            </p:cNvSpPr>
            <p:nvPr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8" name="Oval 950"/>
            <p:cNvSpPr>
              <a:spLocks noChangeAspect="1" noChangeArrowheads="1"/>
            </p:cNvSpPr>
            <p:nvPr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9" name="Oval 951"/>
            <p:cNvSpPr>
              <a:spLocks noChangeAspect="1" noChangeArrowheads="1"/>
            </p:cNvSpPr>
            <p:nvPr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0" name="Oval 952"/>
            <p:cNvSpPr>
              <a:spLocks noChangeAspect="1" noChangeArrowheads="1"/>
            </p:cNvSpPr>
            <p:nvPr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1" name="Oval 953"/>
            <p:cNvSpPr>
              <a:spLocks noChangeAspect="1" noChangeArrowheads="1"/>
            </p:cNvSpPr>
            <p:nvPr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2" name="Oval 954"/>
            <p:cNvSpPr>
              <a:spLocks noChangeAspect="1" noChangeArrowheads="1"/>
            </p:cNvSpPr>
            <p:nvPr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3" name="Oval 955"/>
            <p:cNvSpPr>
              <a:spLocks noChangeAspect="1" noChangeArrowheads="1"/>
            </p:cNvSpPr>
            <p:nvPr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4" name="Oval 956"/>
            <p:cNvSpPr>
              <a:spLocks noChangeAspect="1" noChangeArrowheads="1"/>
            </p:cNvSpPr>
            <p:nvPr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5" name="Oval 957"/>
            <p:cNvSpPr>
              <a:spLocks noChangeAspect="1" noChangeArrowheads="1"/>
            </p:cNvSpPr>
            <p:nvPr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6" name="Oval 958"/>
            <p:cNvSpPr>
              <a:spLocks noChangeAspect="1" noChangeArrowheads="1"/>
            </p:cNvSpPr>
            <p:nvPr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7" name="Oval 959"/>
            <p:cNvSpPr>
              <a:spLocks noChangeAspect="1" noChangeArrowheads="1"/>
            </p:cNvSpPr>
            <p:nvPr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8" name="Oval 960"/>
            <p:cNvSpPr>
              <a:spLocks noChangeAspect="1" noChangeArrowheads="1"/>
            </p:cNvSpPr>
            <p:nvPr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9" name="Oval 961"/>
            <p:cNvSpPr>
              <a:spLocks noChangeAspect="1" noChangeArrowheads="1"/>
            </p:cNvSpPr>
            <p:nvPr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0" name="Oval 962"/>
            <p:cNvSpPr>
              <a:spLocks noChangeAspect="1" noChangeArrowheads="1"/>
            </p:cNvSpPr>
            <p:nvPr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1" name="Oval 963"/>
            <p:cNvSpPr>
              <a:spLocks noChangeAspect="1" noChangeArrowheads="1"/>
            </p:cNvSpPr>
            <p:nvPr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2" name="Oval 964"/>
            <p:cNvSpPr>
              <a:spLocks noChangeAspect="1" noChangeArrowheads="1"/>
            </p:cNvSpPr>
            <p:nvPr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3" name="Oval 965"/>
            <p:cNvSpPr>
              <a:spLocks noChangeAspect="1" noChangeArrowheads="1"/>
            </p:cNvSpPr>
            <p:nvPr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4" name="Oval 966"/>
            <p:cNvSpPr>
              <a:spLocks noChangeAspect="1" noChangeArrowheads="1"/>
            </p:cNvSpPr>
            <p:nvPr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5" name="Oval 967"/>
            <p:cNvSpPr>
              <a:spLocks noChangeAspect="1" noChangeArrowheads="1"/>
            </p:cNvSpPr>
            <p:nvPr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6" name="Oval 968"/>
            <p:cNvSpPr>
              <a:spLocks noChangeAspect="1" noChangeArrowheads="1"/>
            </p:cNvSpPr>
            <p:nvPr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7" name="Oval 969"/>
            <p:cNvSpPr>
              <a:spLocks noChangeAspect="1" noChangeArrowheads="1"/>
            </p:cNvSpPr>
            <p:nvPr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8" name="Oval 970"/>
            <p:cNvSpPr>
              <a:spLocks noChangeAspect="1" noChangeArrowheads="1"/>
            </p:cNvSpPr>
            <p:nvPr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9" name="Oval 971"/>
            <p:cNvSpPr>
              <a:spLocks noChangeAspect="1" noChangeArrowheads="1"/>
            </p:cNvSpPr>
            <p:nvPr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0" name="Oval 972"/>
            <p:cNvSpPr>
              <a:spLocks noChangeAspect="1" noChangeArrowheads="1"/>
            </p:cNvSpPr>
            <p:nvPr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1" name="Oval 973"/>
            <p:cNvSpPr>
              <a:spLocks noChangeAspect="1" noChangeArrowheads="1"/>
            </p:cNvSpPr>
            <p:nvPr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2" name="Oval 974"/>
            <p:cNvSpPr>
              <a:spLocks noChangeAspect="1" noChangeArrowheads="1"/>
            </p:cNvSpPr>
            <p:nvPr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3" name="Oval 975"/>
            <p:cNvSpPr>
              <a:spLocks noChangeAspect="1" noChangeArrowheads="1"/>
            </p:cNvSpPr>
            <p:nvPr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4" name="Oval 976"/>
            <p:cNvSpPr>
              <a:spLocks noChangeAspect="1" noChangeArrowheads="1"/>
            </p:cNvSpPr>
            <p:nvPr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5" name="Oval 977"/>
            <p:cNvSpPr>
              <a:spLocks noChangeAspect="1" noChangeArrowheads="1"/>
            </p:cNvSpPr>
            <p:nvPr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6" name="Oval 978"/>
            <p:cNvSpPr>
              <a:spLocks noChangeAspect="1" noChangeArrowheads="1"/>
            </p:cNvSpPr>
            <p:nvPr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7" name="Oval 979"/>
            <p:cNvSpPr>
              <a:spLocks noChangeAspect="1" noChangeArrowheads="1"/>
            </p:cNvSpPr>
            <p:nvPr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8" name="Oval 980"/>
            <p:cNvSpPr>
              <a:spLocks noChangeAspect="1" noChangeArrowheads="1"/>
            </p:cNvSpPr>
            <p:nvPr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9" name="Oval 981"/>
            <p:cNvSpPr>
              <a:spLocks noChangeAspect="1" noChangeArrowheads="1"/>
            </p:cNvSpPr>
            <p:nvPr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0" name="Oval 982"/>
            <p:cNvSpPr>
              <a:spLocks noChangeAspect="1" noChangeArrowheads="1"/>
            </p:cNvSpPr>
            <p:nvPr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1" name="Oval 983"/>
            <p:cNvSpPr>
              <a:spLocks noChangeAspect="1" noChangeArrowheads="1"/>
            </p:cNvSpPr>
            <p:nvPr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2" name="Oval 984"/>
            <p:cNvSpPr>
              <a:spLocks noChangeAspect="1" noChangeArrowheads="1"/>
            </p:cNvSpPr>
            <p:nvPr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3" name="Oval 985"/>
            <p:cNvSpPr>
              <a:spLocks noChangeAspect="1" noChangeArrowheads="1"/>
            </p:cNvSpPr>
            <p:nvPr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4" name="Oval 986"/>
            <p:cNvSpPr>
              <a:spLocks noChangeAspect="1" noChangeArrowheads="1"/>
            </p:cNvSpPr>
            <p:nvPr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5" name="Oval 987"/>
            <p:cNvSpPr>
              <a:spLocks noChangeAspect="1" noChangeArrowheads="1"/>
            </p:cNvSpPr>
            <p:nvPr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6" name="Oval 988"/>
            <p:cNvSpPr>
              <a:spLocks noChangeAspect="1" noChangeArrowheads="1"/>
            </p:cNvSpPr>
            <p:nvPr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7" name="Oval 989"/>
            <p:cNvSpPr>
              <a:spLocks noChangeAspect="1" noChangeArrowheads="1"/>
            </p:cNvSpPr>
            <p:nvPr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8" name="Oval 990"/>
            <p:cNvSpPr>
              <a:spLocks noChangeAspect="1" noChangeArrowheads="1"/>
            </p:cNvSpPr>
            <p:nvPr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9" name="Oval 991"/>
            <p:cNvSpPr>
              <a:spLocks noChangeAspect="1" noChangeArrowheads="1"/>
            </p:cNvSpPr>
            <p:nvPr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0" name="Oval 992"/>
            <p:cNvSpPr>
              <a:spLocks noChangeAspect="1" noChangeArrowheads="1"/>
            </p:cNvSpPr>
            <p:nvPr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1" name="Oval 993"/>
            <p:cNvSpPr>
              <a:spLocks noChangeAspect="1" noChangeArrowheads="1"/>
            </p:cNvSpPr>
            <p:nvPr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2" name="Oval 994"/>
            <p:cNvSpPr>
              <a:spLocks noChangeAspect="1" noChangeArrowheads="1"/>
            </p:cNvSpPr>
            <p:nvPr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3" name="Oval 995"/>
            <p:cNvSpPr>
              <a:spLocks noChangeAspect="1" noChangeArrowheads="1"/>
            </p:cNvSpPr>
            <p:nvPr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4" name="Oval 996"/>
            <p:cNvSpPr>
              <a:spLocks noChangeAspect="1" noChangeArrowheads="1"/>
            </p:cNvSpPr>
            <p:nvPr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5" name="Oval 997"/>
            <p:cNvSpPr>
              <a:spLocks noChangeAspect="1" noChangeArrowheads="1"/>
            </p:cNvSpPr>
            <p:nvPr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6" name="Oval 998"/>
            <p:cNvSpPr>
              <a:spLocks noChangeAspect="1" noChangeArrowheads="1"/>
            </p:cNvSpPr>
            <p:nvPr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7" name="Oval 999"/>
            <p:cNvSpPr>
              <a:spLocks noChangeAspect="1" noChangeArrowheads="1"/>
            </p:cNvSpPr>
            <p:nvPr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8" name="Oval 1000"/>
            <p:cNvSpPr>
              <a:spLocks noChangeAspect="1" noChangeArrowheads="1"/>
            </p:cNvSpPr>
            <p:nvPr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9" name="Oval 1001"/>
            <p:cNvSpPr>
              <a:spLocks noChangeAspect="1" noChangeArrowheads="1"/>
            </p:cNvSpPr>
            <p:nvPr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0" name="Oval 1002"/>
            <p:cNvSpPr>
              <a:spLocks noChangeAspect="1" noChangeArrowheads="1"/>
            </p:cNvSpPr>
            <p:nvPr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1" name="Oval 1003"/>
            <p:cNvSpPr>
              <a:spLocks noChangeAspect="1" noChangeArrowheads="1"/>
            </p:cNvSpPr>
            <p:nvPr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2" name="Oval 1004"/>
            <p:cNvSpPr>
              <a:spLocks noChangeAspect="1" noChangeArrowheads="1"/>
            </p:cNvSpPr>
            <p:nvPr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3" name="Oval 1005"/>
            <p:cNvSpPr>
              <a:spLocks noChangeAspect="1" noChangeArrowheads="1"/>
            </p:cNvSpPr>
            <p:nvPr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4" name="Oval 1006"/>
            <p:cNvSpPr>
              <a:spLocks noChangeAspect="1" noChangeArrowheads="1"/>
            </p:cNvSpPr>
            <p:nvPr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5" name="Oval 1007"/>
            <p:cNvSpPr>
              <a:spLocks noChangeAspect="1" noChangeArrowheads="1"/>
            </p:cNvSpPr>
            <p:nvPr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6" name="Oval 1008"/>
            <p:cNvSpPr>
              <a:spLocks noChangeAspect="1" noChangeArrowheads="1"/>
            </p:cNvSpPr>
            <p:nvPr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7" name="Oval 1009"/>
            <p:cNvSpPr>
              <a:spLocks noChangeAspect="1" noChangeArrowheads="1"/>
            </p:cNvSpPr>
            <p:nvPr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8" name="Oval 1010"/>
            <p:cNvSpPr>
              <a:spLocks noChangeAspect="1" noChangeArrowheads="1"/>
            </p:cNvSpPr>
            <p:nvPr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9" name="Oval 1011"/>
            <p:cNvSpPr>
              <a:spLocks noChangeAspect="1" noChangeArrowheads="1"/>
            </p:cNvSpPr>
            <p:nvPr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0" name="Oval 1012"/>
            <p:cNvSpPr>
              <a:spLocks noChangeAspect="1" noChangeArrowheads="1"/>
            </p:cNvSpPr>
            <p:nvPr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1" name="Oval 1013"/>
            <p:cNvSpPr>
              <a:spLocks noChangeAspect="1" noChangeArrowheads="1"/>
            </p:cNvSpPr>
            <p:nvPr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2" name="Oval 1014"/>
            <p:cNvSpPr>
              <a:spLocks noChangeAspect="1" noChangeArrowheads="1"/>
            </p:cNvSpPr>
            <p:nvPr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3" name="Oval 1015"/>
            <p:cNvSpPr>
              <a:spLocks noChangeAspect="1" noChangeArrowheads="1"/>
            </p:cNvSpPr>
            <p:nvPr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4" name="Oval 1016"/>
            <p:cNvSpPr>
              <a:spLocks noChangeAspect="1" noChangeArrowheads="1"/>
            </p:cNvSpPr>
            <p:nvPr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5" name="Oval 1017"/>
            <p:cNvSpPr>
              <a:spLocks noChangeAspect="1" noChangeArrowheads="1"/>
            </p:cNvSpPr>
            <p:nvPr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6" name="Oval 1018"/>
            <p:cNvSpPr>
              <a:spLocks noChangeAspect="1" noChangeArrowheads="1"/>
            </p:cNvSpPr>
            <p:nvPr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7" name="Oval 1019"/>
            <p:cNvSpPr>
              <a:spLocks noChangeAspect="1" noChangeArrowheads="1"/>
            </p:cNvSpPr>
            <p:nvPr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8" name="Oval 1020"/>
            <p:cNvSpPr>
              <a:spLocks noChangeAspect="1" noChangeArrowheads="1"/>
            </p:cNvSpPr>
            <p:nvPr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9" name="Oval 1021"/>
            <p:cNvSpPr>
              <a:spLocks noChangeAspect="1" noChangeArrowheads="1"/>
            </p:cNvSpPr>
            <p:nvPr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0" name="Oval 1022"/>
            <p:cNvSpPr>
              <a:spLocks noChangeAspect="1" noChangeArrowheads="1"/>
            </p:cNvSpPr>
            <p:nvPr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1" name="Oval 1023"/>
            <p:cNvSpPr>
              <a:spLocks noChangeAspect="1" noChangeArrowheads="1"/>
            </p:cNvSpPr>
            <p:nvPr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2" name="Oval 1024"/>
            <p:cNvSpPr>
              <a:spLocks noChangeAspect="1" noChangeArrowheads="1"/>
            </p:cNvSpPr>
            <p:nvPr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3" name="Oval 1025"/>
            <p:cNvSpPr>
              <a:spLocks noChangeAspect="1" noChangeArrowheads="1"/>
            </p:cNvSpPr>
            <p:nvPr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4" name="Oval 1026"/>
            <p:cNvSpPr>
              <a:spLocks noChangeAspect="1" noChangeArrowheads="1"/>
            </p:cNvSpPr>
            <p:nvPr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5" name="Oval 1027"/>
            <p:cNvSpPr>
              <a:spLocks noChangeAspect="1" noChangeArrowheads="1"/>
            </p:cNvSpPr>
            <p:nvPr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6" name="Oval 1028"/>
            <p:cNvSpPr>
              <a:spLocks noChangeAspect="1" noChangeArrowheads="1"/>
            </p:cNvSpPr>
            <p:nvPr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7" name="Oval 1029"/>
            <p:cNvSpPr>
              <a:spLocks noChangeAspect="1" noChangeArrowheads="1"/>
            </p:cNvSpPr>
            <p:nvPr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8" name="Oval 1030"/>
            <p:cNvSpPr>
              <a:spLocks noChangeAspect="1" noChangeArrowheads="1"/>
            </p:cNvSpPr>
            <p:nvPr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9" name="Oval 1031"/>
            <p:cNvSpPr>
              <a:spLocks noChangeAspect="1" noChangeArrowheads="1"/>
            </p:cNvSpPr>
            <p:nvPr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0" name="Oval 1032"/>
            <p:cNvSpPr>
              <a:spLocks noChangeAspect="1" noChangeArrowheads="1"/>
            </p:cNvSpPr>
            <p:nvPr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1" name="Oval 1033"/>
            <p:cNvSpPr>
              <a:spLocks noChangeAspect="1" noChangeArrowheads="1"/>
            </p:cNvSpPr>
            <p:nvPr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2" name="Oval 1034"/>
            <p:cNvSpPr>
              <a:spLocks noChangeAspect="1" noChangeArrowheads="1"/>
            </p:cNvSpPr>
            <p:nvPr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3" name="Oval 1035"/>
            <p:cNvSpPr>
              <a:spLocks noChangeAspect="1" noChangeArrowheads="1"/>
            </p:cNvSpPr>
            <p:nvPr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4" name="Oval 1036"/>
            <p:cNvSpPr>
              <a:spLocks noChangeAspect="1" noChangeArrowheads="1"/>
            </p:cNvSpPr>
            <p:nvPr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5" name="Oval 1037"/>
            <p:cNvSpPr>
              <a:spLocks noChangeAspect="1" noChangeArrowheads="1"/>
            </p:cNvSpPr>
            <p:nvPr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6" name="Oval 1038"/>
            <p:cNvSpPr>
              <a:spLocks noChangeAspect="1" noChangeArrowheads="1"/>
            </p:cNvSpPr>
            <p:nvPr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7" name="Oval 1039"/>
            <p:cNvSpPr>
              <a:spLocks noChangeAspect="1" noChangeArrowheads="1"/>
            </p:cNvSpPr>
            <p:nvPr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8" name="Oval 1040"/>
            <p:cNvSpPr>
              <a:spLocks noChangeAspect="1" noChangeArrowheads="1"/>
            </p:cNvSpPr>
            <p:nvPr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9" name="Oval 1041"/>
            <p:cNvSpPr>
              <a:spLocks noChangeAspect="1" noChangeArrowheads="1"/>
            </p:cNvSpPr>
            <p:nvPr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0" name="Oval 1042"/>
            <p:cNvSpPr>
              <a:spLocks noChangeAspect="1" noChangeArrowheads="1"/>
            </p:cNvSpPr>
            <p:nvPr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1" name="Oval 1043"/>
            <p:cNvSpPr>
              <a:spLocks noChangeAspect="1" noChangeArrowheads="1"/>
            </p:cNvSpPr>
            <p:nvPr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2" name="Oval 1044"/>
            <p:cNvSpPr>
              <a:spLocks noChangeAspect="1" noChangeArrowheads="1"/>
            </p:cNvSpPr>
            <p:nvPr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3" name="Oval 1045"/>
            <p:cNvSpPr>
              <a:spLocks noChangeAspect="1" noChangeArrowheads="1"/>
            </p:cNvSpPr>
            <p:nvPr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4" name="Oval 1046"/>
            <p:cNvSpPr>
              <a:spLocks noChangeAspect="1" noChangeArrowheads="1"/>
            </p:cNvSpPr>
            <p:nvPr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5" name="Oval 1047"/>
            <p:cNvSpPr>
              <a:spLocks noChangeAspect="1" noChangeArrowheads="1"/>
            </p:cNvSpPr>
            <p:nvPr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6" name="Oval 1048"/>
            <p:cNvSpPr>
              <a:spLocks noChangeAspect="1" noChangeArrowheads="1"/>
            </p:cNvSpPr>
            <p:nvPr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7" name="Oval 1049"/>
            <p:cNvSpPr>
              <a:spLocks noChangeAspect="1" noChangeArrowheads="1"/>
            </p:cNvSpPr>
            <p:nvPr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8" name="Oval 1050"/>
            <p:cNvSpPr>
              <a:spLocks noChangeAspect="1" noChangeArrowheads="1"/>
            </p:cNvSpPr>
            <p:nvPr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9" name="Oval 1051"/>
            <p:cNvSpPr>
              <a:spLocks noChangeAspect="1" noChangeArrowheads="1"/>
            </p:cNvSpPr>
            <p:nvPr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0" name="Oval 1052"/>
            <p:cNvSpPr>
              <a:spLocks noChangeAspect="1" noChangeArrowheads="1"/>
            </p:cNvSpPr>
            <p:nvPr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1" name="Oval 1053"/>
            <p:cNvSpPr>
              <a:spLocks noChangeAspect="1" noChangeArrowheads="1"/>
            </p:cNvSpPr>
            <p:nvPr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2" name="Oval 1054"/>
            <p:cNvSpPr>
              <a:spLocks noChangeAspect="1" noChangeArrowheads="1"/>
            </p:cNvSpPr>
            <p:nvPr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3" name="Oval 1055"/>
            <p:cNvSpPr>
              <a:spLocks noChangeAspect="1" noChangeArrowheads="1"/>
            </p:cNvSpPr>
            <p:nvPr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4" name="Oval 1056"/>
            <p:cNvSpPr>
              <a:spLocks noChangeAspect="1" noChangeArrowheads="1"/>
            </p:cNvSpPr>
            <p:nvPr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5" name="Oval 1057"/>
            <p:cNvSpPr>
              <a:spLocks noChangeAspect="1" noChangeArrowheads="1"/>
            </p:cNvSpPr>
            <p:nvPr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6" name="Oval 1058"/>
            <p:cNvSpPr>
              <a:spLocks noChangeAspect="1" noChangeArrowheads="1"/>
            </p:cNvSpPr>
            <p:nvPr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7" name="Oval 1059"/>
            <p:cNvSpPr>
              <a:spLocks noChangeAspect="1" noChangeArrowheads="1"/>
            </p:cNvSpPr>
            <p:nvPr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8" name="Oval 1060"/>
            <p:cNvSpPr>
              <a:spLocks noChangeAspect="1" noChangeArrowheads="1"/>
            </p:cNvSpPr>
            <p:nvPr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9" name="Oval 1061"/>
            <p:cNvSpPr>
              <a:spLocks noChangeAspect="1" noChangeArrowheads="1"/>
            </p:cNvSpPr>
            <p:nvPr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0" name="Oval 1062"/>
            <p:cNvSpPr>
              <a:spLocks noChangeAspect="1" noChangeArrowheads="1"/>
            </p:cNvSpPr>
            <p:nvPr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1" name="Oval 1063"/>
            <p:cNvSpPr>
              <a:spLocks noChangeAspect="1" noChangeArrowheads="1"/>
            </p:cNvSpPr>
            <p:nvPr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2" name="Oval 1064"/>
            <p:cNvSpPr>
              <a:spLocks noChangeAspect="1" noChangeArrowheads="1"/>
            </p:cNvSpPr>
            <p:nvPr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3" name="Oval 1065"/>
            <p:cNvSpPr>
              <a:spLocks noChangeAspect="1" noChangeArrowheads="1"/>
            </p:cNvSpPr>
            <p:nvPr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4" name="Oval 1066"/>
            <p:cNvSpPr>
              <a:spLocks noChangeAspect="1" noChangeArrowheads="1"/>
            </p:cNvSpPr>
            <p:nvPr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5" name="Oval 1067"/>
            <p:cNvSpPr>
              <a:spLocks noChangeAspect="1" noChangeArrowheads="1"/>
            </p:cNvSpPr>
            <p:nvPr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6" name="Oval 1068"/>
            <p:cNvSpPr>
              <a:spLocks noChangeAspect="1" noChangeArrowheads="1"/>
            </p:cNvSpPr>
            <p:nvPr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7" name="Oval 1069"/>
            <p:cNvSpPr>
              <a:spLocks noChangeAspect="1" noChangeArrowheads="1"/>
            </p:cNvSpPr>
            <p:nvPr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8" name="Oval 1070"/>
            <p:cNvSpPr>
              <a:spLocks noChangeAspect="1" noChangeArrowheads="1"/>
            </p:cNvSpPr>
            <p:nvPr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9" name="Oval 1071"/>
            <p:cNvSpPr>
              <a:spLocks noChangeAspect="1" noChangeArrowheads="1"/>
            </p:cNvSpPr>
            <p:nvPr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0" name="Oval 1072"/>
            <p:cNvSpPr>
              <a:spLocks noChangeAspect="1" noChangeArrowheads="1"/>
            </p:cNvSpPr>
            <p:nvPr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1" name="Oval 1073"/>
            <p:cNvSpPr>
              <a:spLocks noChangeAspect="1" noChangeArrowheads="1"/>
            </p:cNvSpPr>
            <p:nvPr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2" name="Oval 1074"/>
            <p:cNvSpPr>
              <a:spLocks noChangeAspect="1" noChangeArrowheads="1"/>
            </p:cNvSpPr>
            <p:nvPr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3" name="Oval 1075"/>
            <p:cNvSpPr>
              <a:spLocks noChangeAspect="1" noChangeArrowheads="1"/>
            </p:cNvSpPr>
            <p:nvPr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4" name="Oval 1076"/>
            <p:cNvSpPr>
              <a:spLocks noChangeAspect="1" noChangeArrowheads="1"/>
            </p:cNvSpPr>
            <p:nvPr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5" name="Oval 1077"/>
            <p:cNvSpPr>
              <a:spLocks noChangeAspect="1" noChangeArrowheads="1"/>
            </p:cNvSpPr>
            <p:nvPr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6" name="Oval 1078"/>
            <p:cNvSpPr>
              <a:spLocks noChangeAspect="1" noChangeArrowheads="1"/>
            </p:cNvSpPr>
            <p:nvPr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7" name="Oval 1079"/>
            <p:cNvSpPr>
              <a:spLocks noChangeAspect="1" noChangeArrowheads="1"/>
            </p:cNvSpPr>
            <p:nvPr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8" name="Oval 1080"/>
            <p:cNvSpPr>
              <a:spLocks noChangeAspect="1" noChangeArrowheads="1"/>
            </p:cNvSpPr>
            <p:nvPr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9" name="Oval 1081"/>
            <p:cNvSpPr>
              <a:spLocks noChangeAspect="1" noChangeArrowheads="1"/>
            </p:cNvSpPr>
            <p:nvPr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0" name="Oval 1082"/>
            <p:cNvSpPr>
              <a:spLocks noChangeAspect="1" noChangeArrowheads="1"/>
            </p:cNvSpPr>
            <p:nvPr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1" name="Oval 1083"/>
            <p:cNvSpPr>
              <a:spLocks noChangeAspect="1" noChangeArrowheads="1"/>
            </p:cNvSpPr>
            <p:nvPr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2" name="Oval 1084"/>
            <p:cNvSpPr>
              <a:spLocks noChangeAspect="1" noChangeArrowheads="1"/>
            </p:cNvSpPr>
            <p:nvPr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3" name="Oval 1085"/>
            <p:cNvSpPr>
              <a:spLocks noChangeAspect="1" noChangeArrowheads="1"/>
            </p:cNvSpPr>
            <p:nvPr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4" name="Oval 1086"/>
            <p:cNvSpPr>
              <a:spLocks noChangeAspect="1" noChangeArrowheads="1"/>
            </p:cNvSpPr>
            <p:nvPr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5" name="Oval 1087"/>
            <p:cNvSpPr>
              <a:spLocks noChangeAspect="1" noChangeArrowheads="1"/>
            </p:cNvSpPr>
            <p:nvPr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6" name="Oval 1088"/>
            <p:cNvSpPr>
              <a:spLocks noChangeAspect="1" noChangeArrowheads="1"/>
            </p:cNvSpPr>
            <p:nvPr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7" name="Oval 1089"/>
            <p:cNvSpPr>
              <a:spLocks noChangeAspect="1" noChangeArrowheads="1"/>
            </p:cNvSpPr>
            <p:nvPr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8" name="Oval 1090"/>
            <p:cNvSpPr>
              <a:spLocks noChangeAspect="1" noChangeArrowheads="1"/>
            </p:cNvSpPr>
            <p:nvPr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9" name="Oval 1091"/>
            <p:cNvSpPr>
              <a:spLocks noChangeAspect="1" noChangeArrowheads="1"/>
            </p:cNvSpPr>
            <p:nvPr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0" name="Oval 1092"/>
            <p:cNvSpPr>
              <a:spLocks noChangeAspect="1" noChangeArrowheads="1"/>
            </p:cNvSpPr>
            <p:nvPr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1" name="Oval 1093"/>
            <p:cNvSpPr>
              <a:spLocks noChangeAspect="1" noChangeArrowheads="1"/>
            </p:cNvSpPr>
            <p:nvPr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2" name="Oval 1094"/>
            <p:cNvSpPr>
              <a:spLocks noChangeAspect="1" noChangeArrowheads="1"/>
            </p:cNvSpPr>
            <p:nvPr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3" name="Oval 1095"/>
            <p:cNvSpPr>
              <a:spLocks noChangeAspect="1" noChangeArrowheads="1"/>
            </p:cNvSpPr>
            <p:nvPr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4" name="Oval 1096"/>
            <p:cNvSpPr>
              <a:spLocks noChangeAspect="1" noChangeArrowheads="1"/>
            </p:cNvSpPr>
            <p:nvPr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5" name="Oval 1097"/>
            <p:cNvSpPr>
              <a:spLocks noChangeAspect="1" noChangeArrowheads="1"/>
            </p:cNvSpPr>
            <p:nvPr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6" name="Oval 1098"/>
            <p:cNvSpPr>
              <a:spLocks noChangeAspect="1" noChangeArrowheads="1"/>
            </p:cNvSpPr>
            <p:nvPr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7" name="Oval 1099"/>
            <p:cNvSpPr>
              <a:spLocks noChangeAspect="1" noChangeArrowheads="1"/>
            </p:cNvSpPr>
            <p:nvPr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8" name="Oval 1100"/>
            <p:cNvSpPr>
              <a:spLocks noChangeAspect="1" noChangeArrowheads="1"/>
            </p:cNvSpPr>
            <p:nvPr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9" name="Oval 1101"/>
            <p:cNvSpPr>
              <a:spLocks noChangeAspect="1" noChangeArrowheads="1"/>
            </p:cNvSpPr>
            <p:nvPr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0" name="Oval 1102"/>
            <p:cNvSpPr>
              <a:spLocks noChangeAspect="1" noChangeArrowheads="1"/>
            </p:cNvSpPr>
            <p:nvPr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1" name="Oval 1103"/>
            <p:cNvSpPr>
              <a:spLocks noChangeAspect="1" noChangeArrowheads="1"/>
            </p:cNvSpPr>
            <p:nvPr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2" name="Oval 1104"/>
            <p:cNvSpPr>
              <a:spLocks noChangeAspect="1" noChangeArrowheads="1"/>
            </p:cNvSpPr>
            <p:nvPr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3" name="Oval 1105"/>
            <p:cNvSpPr>
              <a:spLocks noChangeAspect="1" noChangeArrowheads="1"/>
            </p:cNvSpPr>
            <p:nvPr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4" name="Oval 1106"/>
            <p:cNvSpPr>
              <a:spLocks noChangeAspect="1" noChangeArrowheads="1"/>
            </p:cNvSpPr>
            <p:nvPr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5" name="Oval 1107"/>
            <p:cNvSpPr>
              <a:spLocks noChangeAspect="1" noChangeArrowheads="1"/>
            </p:cNvSpPr>
            <p:nvPr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6" name="Oval 1108"/>
            <p:cNvSpPr>
              <a:spLocks noChangeAspect="1" noChangeArrowheads="1"/>
            </p:cNvSpPr>
            <p:nvPr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7" name="Oval 1109"/>
            <p:cNvSpPr>
              <a:spLocks noChangeAspect="1" noChangeArrowheads="1"/>
            </p:cNvSpPr>
            <p:nvPr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8" name="Oval 1110"/>
            <p:cNvSpPr>
              <a:spLocks noChangeAspect="1" noChangeArrowheads="1"/>
            </p:cNvSpPr>
            <p:nvPr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9" name="Oval 1111"/>
            <p:cNvSpPr>
              <a:spLocks noChangeAspect="1" noChangeArrowheads="1"/>
            </p:cNvSpPr>
            <p:nvPr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0" name="Oval 1112"/>
            <p:cNvSpPr>
              <a:spLocks noChangeAspect="1" noChangeArrowheads="1"/>
            </p:cNvSpPr>
            <p:nvPr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1" name="Oval 1113"/>
            <p:cNvSpPr>
              <a:spLocks noChangeAspect="1" noChangeArrowheads="1"/>
            </p:cNvSpPr>
            <p:nvPr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2" name="Oval 1114"/>
            <p:cNvSpPr>
              <a:spLocks noChangeAspect="1" noChangeArrowheads="1"/>
            </p:cNvSpPr>
            <p:nvPr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3" name="Oval 1115"/>
            <p:cNvSpPr>
              <a:spLocks noChangeAspect="1" noChangeArrowheads="1"/>
            </p:cNvSpPr>
            <p:nvPr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4" name="Oval 1116"/>
            <p:cNvSpPr>
              <a:spLocks noChangeAspect="1" noChangeArrowheads="1"/>
            </p:cNvSpPr>
            <p:nvPr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5" name="Oval 1117"/>
            <p:cNvSpPr>
              <a:spLocks noChangeAspect="1" noChangeArrowheads="1"/>
            </p:cNvSpPr>
            <p:nvPr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6" name="Oval 1118"/>
            <p:cNvSpPr>
              <a:spLocks noChangeAspect="1" noChangeArrowheads="1"/>
            </p:cNvSpPr>
            <p:nvPr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7" name="Oval 1119"/>
            <p:cNvSpPr>
              <a:spLocks noChangeAspect="1" noChangeArrowheads="1"/>
            </p:cNvSpPr>
            <p:nvPr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8" name="Oval 1120"/>
            <p:cNvSpPr>
              <a:spLocks noChangeAspect="1" noChangeArrowheads="1"/>
            </p:cNvSpPr>
            <p:nvPr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9" name="Oval 1121"/>
            <p:cNvSpPr>
              <a:spLocks noChangeAspect="1" noChangeArrowheads="1"/>
            </p:cNvSpPr>
            <p:nvPr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0" name="Oval 1122"/>
            <p:cNvSpPr>
              <a:spLocks noChangeAspect="1" noChangeArrowheads="1"/>
            </p:cNvSpPr>
            <p:nvPr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1" name="Oval 1123"/>
            <p:cNvSpPr>
              <a:spLocks noChangeAspect="1" noChangeArrowheads="1"/>
            </p:cNvSpPr>
            <p:nvPr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2" name="Oval 1124"/>
            <p:cNvSpPr>
              <a:spLocks noChangeAspect="1" noChangeArrowheads="1"/>
            </p:cNvSpPr>
            <p:nvPr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3" name="Oval 1125"/>
            <p:cNvSpPr>
              <a:spLocks noChangeAspect="1" noChangeArrowheads="1"/>
            </p:cNvSpPr>
            <p:nvPr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4" name="Oval 1126"/>
            <p:cNvSpPr>
              <a:spLocks noChangeAspect="1" noChangeArrowheads="1"/>
            </p:cNvSpPr>
            <p:nvPr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5" name="Oval 1127"/>
            <p:cNvSpPr>
              <a:spLocks noChangeAspect="1" noChangeArrowheads="1"/>
            </p:cNvSpPr>
            <p:nvPr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6" name="Oval 1128"/>
            <p:cNvSpPr>
              <a:spLocks noChangeAspect="1" noChangeArrowheads="1"/>
            </p:cNvSpPr>
            <p:nvPr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7" name="Oval 1129"/>
            <p:cNvSpPr>
              <a:spLocks noChangeAspect="1" noChangeArrowheads="1"/>
            </p:cNvSpPr>
            <p:nvPr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8" name="Oval 1130"/>
            <p:cNvSpPr>
              <a:spLocks noChangeAspect="1" noChangeArrowheads="1"/>
            </p:cNvSpPr>
            <p:nvPr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9" name="Oval 1131"/>
            <p:cNvSpPr>
              <a:spLocks noChangeAspect="1" noChangeArrowheads="1"/>
            </p:cNvSpPr>
            <p:nvPr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0" name="Oval 1132"/>
            <p:cNvSpPr>
              <a:spLocks noChangeAspect="1" noChangeArrowheads="1"/>
            </p:cNvSpPr>
            <p:nvPr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1" name="Oval 1133"/>
            <p:cNvSpPr>
              <a:spLocks noChangeAspect="1" noChangeArrowheads="1"/>
            </p:cNvSpPr>
            <p:nvPr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2" name="Oval 1134"/>
            <p:cNvSpPr>
              <a:spLocks noChangeAspect="1" noChangeArrowheads="1"/>
            </p:cNvSpPr>
            <p:nvPr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3" name="Oval 1135"/>
            <p:cNvSpPr>
              <a:spLocks noChangeAspect="1" noChangeArrowheads="1"/>
            </p:cNvSpPr>
            <p:nvPr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4" name="Oval 1136"/>
            <p:cNvSpPr>
              <a:spLocks noChangeAspect="1" noChangeArrowheads="1"/>
            </p:cNvSpPr>
            <p:nvPr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5" name="Oval 1137"/>
            <p:cNvSpPr>
              <a:spLocks noChangeAspect="1" noChangeArrowheads="1"/>
            </p:cNvSpPr>
            <p:nvPr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6" name="Oval 1138"/>
            <p:cNvSpPr>
              <a:spLocks noChangeAspect="1" noChangeArrowheads="1"/>
            </p:cNvSpPr>
            <p:nvPr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7" name="Oval 1139"/>
            <p:cNvSpPr>
              <a:spLocks noChangeAspect="1" noChangeArrowheads="1"/>
            </p:cNvSpPr>
            <p:nvPr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8" name="Oval 1140"/>
            <p:cNvSpPr>
              <a:spLocks noChangeAspect="1" noChangeArrowheads="1"/>
            </p:cNvSpPr>
            <p:nvPr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9" name="Oval 1141"/>
            <p:cNvSpPr>
              <a:spLocks noChangeAspect="1" noChangeArrowheads="1"/>
            </p:cNvSpPr>
            <p:nvPr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0" name="Oval 1142"/>
            <p:cNvSpPr>
              <a:spLocks noChangeAspect="1" noChangeArrowheads="1"/>
            </p:cNvSpPr>
            <p:nvPr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1" name="Oval 1143"/>
            <p:cNvSpPr>
              <a:spLocks noChangeAspect="1" noChangeArrowheads="1"/>
            </p:cNvSpPr>
            <p:nvPr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2" name="Oval 1144"/>
            <p:cNvSpPr>
              <a:spLocks noChangeAspect="1" noChangeArrowheads="1"/>
            </p:cNvSpPr>
            <p:nvPr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3" name="Oval 1145"/>
            <p:cNvSpPr>
              <a:spLocks noChangeAspect="1" noChangeArrowheads="1"/>
            </p:cNvSpPr>
            <p:nvPr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4" name="Oval 1146"/>
            <p:cNvSpPr>
              <a:spLocks noChangeAspect="1" noChangeArrowheads="1"/>
            </p:cNvSpPr>
            <p:nvPr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5" name="Oval 1147"/>
            <p:cNvSpPr>
              <a:spLocks noChangeAspect="1" noChangeArrowheads="1"/>
            </p:cNvSpPr>
            <p:nvPr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6" name="Oval 1148"/>
            <p:cNvSpPr>
              <a:spLocks noChangeAspect="1" noChangeArrowheads="1"/>
            </p:cNvSpPr>
            <p:nvPr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7" name="Oval 1149"/>
            <p:cNvSpPr>
              <a:spLocks noChangeAspect="1" noChangeArrowheads="1"/>
            </p:cNvSpPr>
            <p:nvPr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8" name="Oval 1150"/>
            <p:cNvSpPr>
              <a:spLocks noChangeAspect="1" noChangeArrowheads="1"/>
            </p:cNvSpPr>
            <p:nvPr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9" name="Oval 1151"/>
            <p:cNvSpPr>
              <a:spLocks noChangeAspect="1" noChangeArrowheads="1"/>
            </p:cNvSpPr>
            <p:nvPr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0" name="Oval 1152"/>
            <p:cNvSpPr>
              <a:spLocks noChangeAspect="1" noChangeArrowheads="1"/>
            </p:cNvSpPr>
            <p:nvPr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1" name="Oval 1153"/>
            <p:cNvSpPr>
              <a:spLocks noChangeAspect="1" noChangeArrowheads="1"/>
            </p:cNvSpPr>
            <p:nvPr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2" name="Oval 1154"/>
            <p:cNvSpPr>
              <a:spLocks noChangeAspect="1" noChangeArrowheads="1"/>
            </p:cNvSpPr>
            <p:nvPr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3" name="Oval 1155"/>
            <p:cNvSpPr>
              <a:spLocks noChangeAspect="1" noChangeArrowheads="1"/>
            </p:cNvSpPr>
            <p:nvPr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4" name="Oval 1156"/>
            <p:cNvSpPr>
              <a:spLocks noChangeAspect="1" noChangeArrowheads="1"/>
            </p:cNvSpPr>
            <p:nvPr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5" name="Oval 1157"/>
            <p:cNvSpPr>
              <a:spLocks noChangeAspect="1" noChangeArrowheads="1"/>
            </p:cNvSpPr>
            <p:nvPr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6" name="Oval 1158"/>
            <p:cNvSpPr>
              <a:spLocks noChangeAspect="1" noChangeArrowheads="1"/>
            </p:cNvSpPr>
            <p:nvPr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7" name="Oval 1159"/>
            <p:cNvSpPr>
              <a:spLocks noChangeAspect="1" noChangeArrowheads="1"/>
            </p:cNvSpPr>
            <p:nvPr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8" name="Oval 1160"/>
            <p:cNvSpPr>
              <a:spLocks noChangeAspect="1" noChangeArrowheads="1"/>
            </p:cNvSpPr>
            <p:nvPr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9" name="Oval 1161"/>
            <p:cNvSpPr>
              <a:spLocks noChangeAspect="1" noChangeArrowheads="1"/>
            </p:cNvSpPr>
            <p:nvPr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0" name="Oval 1162"/>
            <p:cNvSpPr>
              <a:spLocks noChangeAspect="1" noChangeArrowheads="1"/>
            </p:cNvSpPr>
            <p:nvPr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1" name="Oval 1163"/>
            <p:cNvSpPr>
              <a:spLocks noChangeAspect="1" noChangeArrowheads="1"/>
            </p:cNvSpPr>
            <p:nvPr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2" name="Oval 1164"/>
            <p:cNvSpPr>
              <a:spLocks noChangeAspect="1" noChangeArrowheads="1"/>
            </p:cNvSpPr>
            <p:nvPr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3" name="Oval 1165"/>
            <p:cNvSpPr>
              <a:spLocks noChangeAspect="1" noChangeArrowheads="1"/>
            </p:cNvSpPr>
            <p:nvPr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4" name="Oval 1166"/>
            <p:cNvSpPr>
              <a:spLocks noChangeAspect="1" noChangeArrowheads="1"/>
            </p:cNvSpPr>
            <p:nvPr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5" name="Oval 1167"/>
            <p:cNvSpPr>
              <a:spLocks noChangeAspect="1" noChangeArrowheads="1"/>
            </p:cNvSpPr>
            <p:nvPr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6" name="Oval 1168"/>
            <p:cNvSpPr>
              <a:spLocks noChangeAspect="1" noChangeArrowheads="1"/>
            </p:cNvSpPr>
            <p:nvPr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7" name="Oval 1169"/>
            <p:cNvSpPr>
              <a:spLocks noChangeAspect="1" noChangeArrowheads="1"/>
            </p:cNvSpPr>
            <p:nvPr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8" name="Oval 1170"/>
            <p:cNvSpPr>
              <a:spLocks noChangeAspect="1" noChangeArrowheads="1"/>
            </p:cNvSpPr>
            <p:nvPr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9" name="Oval 1171"/>
            <p:cNvSpPr>
              <a:spLocks noChangeAspect="1" noChangeArrowheads="1"/>
            </p:cNvSpPr>
            <p:nvPr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0" name="Oval 1172"/>
            <p:cNvSpPr>
              <a:spLocks noChangeAspect="1" noChangeArrowheads="1"/>
            </p:cNvSpPr>
            <p:nvPr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1" name="Oval 1173"/>
            <p:cNvSpPr>
              <a:spLocks noChangeAspect="1" noChangeArrowheads="1"/>
            </p:cNvSpPr>
            <p:nvPr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2" name="Oval 1174"/>
            <p:cNvSpPr>
              <a:spLocks noChangeAspect="1" noChangeArrowheads="1"/>
            </p:cNvSpPr>
            <p:nvPr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3" name="Oval 1175"/>
            <p:cNvSpPr>
              <a:spLocks noChangeAspect="1" noChangeArrowheads="1"/>
            </p:cNvSpPr>
            <p:nvPr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4" name="Oval 1176"/>
            <p:cNvSpPr>
              <a:spLocks noChangeAspect="1" noChangeArrowheads="1"/>
            </p:cNvSpPr>
            <p:nvPr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5" name="Oval 1177"/>
            <p:cNvSpPr>
              <a:spLocks noChangeAspect="1" noChangeArrowheads="1"/>
            </p:cNvSpPr>
            <p:nvPr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6" name="Oval 1178"/>
            <p:cNvSpPr>
              <a:spLocks noChangeAspect="1" noChangeArrowheads="1"/>
            </p:cNvSpPr>
            <p:nvPr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7" name="Oval 1179"/>
            <p:cNvSpPr>
              <a:spLocks noChangeAspect="1" noChangeArrowheads="1"/>
            </p:cNvSpPr>
            <p:nvPr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8" name="Oval 1180"/>
            <p:cNvSpPr>
              <a:spLocks noChangeAspect="1" noChangeArrowheads="1"/>
            </p:cNvSpPr>
            <p:nvPr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9" name="Oval 1181"/>
            <p:cNvSpPr>
              <a:spLocks noChangeAspect="1" noChangeArrowheads="1"/>
            </p:cNvSpPr>
            <p:nvPr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0" name="Oval 1182"/>
            <p:cNvSpPr>
              <a:spLocks noChangeAspect="1" noChangeArrowheads="1"/>
            </p:cNvSpPr>
            <p:nvPr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1" name="Oval 1183"/>
            <p:cNvSpPr>
              <a:spLocks noChangeAspect="1" noChangeArrowheads="1"/>
            </p:cNvSpPr>
            <p:nvPr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2" name="Oval 1184"/>
            <p:cNvSpPr>
              <a:spLocks noChangeAspect="1" noChangeArrowheads="1"/>
            </p:cNvSpPr>
            <p:nvPr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3" name="Oval 1185"/>
            <p:cNvSpPr>
              <a:spLocks noChangeAspect="1" noChangeArrowheads="1"/>
            </p:cNvSpPr>
            <p:nvPr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4" name="Oval 1186"/>
            <p:cNvSpPr>
              <a:spLocks noChangeAspect="1" noChangeArrowheads="1"/>
            </p:cNvSpPr>
            <p:nvPr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5" name="Oval 1187"/>
            <p:cNvSpPr>
              <a:spLocks noChangeAspect="1" noChangeArrowheads="1"/>
            </p:cNvSpPr>
            <p:nvPr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6" name="Oval 1188"/>
            <p:cNvSpPr>
              <a:spLocks noChangeAspect="1" noChangeArrowheads="1"/>
            </p:cNvSpPr>
            <p:nvPr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7" name="Oval 1189"/>
            <p:cNvSpPr>
              <a:spLocks noChangeAspect="1" noChangeArrowheads="1"/>
            </p:cNvSpPr>
            <p:nvPr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8" name="Oval 1190"/>
            <p:cNvSpPr>
              <a:spLocks noChangeAspect="1" noChangeArrowheads="1"/>
            </p:cNvSpPr>
            <p:nvPr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9" name="Oval 1191"/>
            <p:cNvSpPr>
              <a:spLocks noChangeAspect="1" noChangeArrowheads="1"/>
            </p:cNvSpPr>
            <p:nvPr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0" name="Oval 1192"/>
            <p:cNvSpPr>
              <a:spLocks noChangeAspect="1" noChangeArrowheads="1"/>
            </p:cNvSpPr>
            <p:nvPr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1" name="Oval 1193"/>
            <p:cNvSpPr>
              <a:spLocks noChangeAspect="1" noChangeArrowheads="1"/>
            </p:cNvSpPr>
            <p:nvPr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2" name="Oval 1194"/>
            <p:cNvSpPr>
              <a:spLocks noChangeAspect="1" noChangeArrowheads="1"/>
            </p:cNvSpPr>
            <p:nvPr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3" name="Oval 1195"/>
            <p:cNvSpPr>
              <a:spLocks noChangeAspect="1" noChangeArrowheads="1"/>
            </p:cNvSpPr>
            <p:nvPr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4" name="Oval 1196"/>
            <p:cNvSpPr>
              <a:spLocks noChangeAspect="1" noChangeArrowheads="1"/>
            </p:cNvSpPr>
            <p:nvPr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5" name="Oval 1197"/>
            <p:cNvSpPr>
              <a:spLocks noChangeAspect="1" noChangeArrowheads="1"/>
            </p:cNvSpPr>
            <p:nvPr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6" name="Oval 1198"/>
            <p:cNvSpPr>
              <a:spLocks noChangeAspect="1" noChangeArrowheads="1"/>
            </p:cNvSpPr>
            <p:nvPr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7" name="Oval 1199"/>
            <p:cNvSpPr>
              <a:spLocks noChangeAspect="1" noChangeArrowheads="1"/>
            </p:cNvSpPr>
            <p:nvPr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8" name="Oval 1200"/>
            <p:cNvSpPr>
              <a:spLocks noChangeAspect="1" noChangeArrowheads="1"/>
            </p:cNvSpPr>
            <p:nvPr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9" name="Oval 1201"/>
            <p:cNvSpPr>
              <a:spLocks noChangeAspect="1" noChangeArrowheads="1"/>
            </p:cNvSpPr>
            <p:nvPr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0" name="Oval 1202"/>
            <p:cNvSpPr>
              <a:spLocks noChangeAspect="1" noChangeArrowheads="1"/>
            </p:cNvSpPr>
            <p:nvPr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1" name="Oval 1203"/>
            <p:cNvSpPr>
              <a:spLocks noChangeAspect="1" noChangeArrowheads="1"/>
            </p:cNvSpPr>
            <p:nvPr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2" name="Oval 1204"/>
            <p:cNvSpPr>
              <a:spLocks noChangeAspect="1" noChangeArrowheads="1"/>
            </p:cNvSpPr>
            <p:nvPr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3" name="Oval 1205"/>
            <p:cNvSpPr>
              <a:spLocks noChangeAspect="1" noChangeArrowheads="1"/>
            </p:cNvSpPr>
            <p:nvPr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4" name="Oval 1206"/>
            <p:cNvSpPr>
              <a:spLocks noChangeAspect="1" noChangeArrowheads="1"/>
            </p:cNvSpPr>
            <p:nvPr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5" name="Oval 1207"/>
            <p:cNvSpPr>
              <a:spLocks noChangeAspect="1" noChangeArrowheads="1"/>
            </p:cNvSpPr>
            <p:nvPr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6" name="Oval 1208"/>
            <p:cNvSpPr>
              <a:spLocks noChangeAspect="1" noChangeArrowheads="1"/>
            </p:cNvSpPr>
            <p:nvPr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7" name="Oval 1209"/>
            <p:cNvSpPr>
              <a:spLocks noChangeAspect="1" noChangeArrowheads="1"/>
            </p:cNvSpPr>
            <p:nvPr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8" name="Oval 1210"/>
            <p:cNvSpPr>
              <a:spLocks noChangeAspect="1" noChangeArrowheads="1"/>
            </p:cNvSpPr>
            <p:nvPr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9" name="Oval 1211"/>
            <p:cNvSpPr>
              <a:spLocks noChangeAspect="1" noChangeArrowheads="1"/>
            </p:cNvSpPr>
            <p:nvPr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0" name="Oval 1212"/>
            <p:cNvSpPr>
              <a:spLocks noChangeAspect="1" noChangeArrowheads="1"/>
            </p:cNvSpPr>
            <p:nvPr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1" name="Oval 1213"/>
            <p:cNvSpPr>
              <a:spLocks noChangeAspect="1" noChangeArrowheads="1"/>
            </p:cNvSpPr>
            <p:nvPr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2" name="Oval 1214"/>
            <p:cNvSpPr>
              <a:spLocks noChangeAspect="1" noChangeArrowheads="1"/>
            </p:cNvSpPr>
            <p:nvPr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3" name="Oval 1215"/>
            <p:cNvSpPr>
              <a:spLocks noChangeAspect="1" noChangeArrowheads="1"/>
            </p:cNvSpPr>
            <p:nvPr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4" name="Oval 1216"/>
            <p:cNvSpPr>
              <a:spLocks noChangeAspect="1" noChangeArrowheads="1"/>
            </p:cNvSpPr>
            <p:nvPr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5" name="Oval 1217"/>
            <p:cNvSpPr>
              <a:spLocks noChangeAspect="1" noChangeArrowheads="1"/>
            </p:cNvSpPr>
            <p:nvPr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6" name="Oval 1218"/>
            <p:cNvSpPr>
              <a:spLocks noChangeAspect="1" noChangeArrowheads="1"/>
            </p:cNvSpPr>
            <p:nvPr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7" name="Oval 1219"/>
            <p:cNvSpPr>
              <a:spLocks noChangeAspect="1" noChangeArrowheads="1"/>
            </p:cNvSpPr>
            <p:nvPr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8" name="Oval 1220"/>
            <p:cNvSpPr>
              <a:spLocks noChangeAspect="1" noChangeArrowheads="1"/>
            </p:cNvSpPr>
            <p:nvPr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9" name="Oval 1221"/>
            <p:cNvSpPr>
              <a:spLocks noChangeAspect="1" noChangeArrowheads="1"/>
            </p:cNvSpPr>
            <p:nvPr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0" name="Oval 1222"/>
            <p:cNvSpPr>
              <a:spLocks noChangeAspect="1" noChangeArrowheads="1"/>
            </p:cNvSpPr>
            <p:nvPr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1" name="Oval 1223"/>
            <p:cNvSpPr>
              <a:spLocks noChangeAspect="1" noChangeArrowheads="1"/>
            </p:cNvSpPr>
            <p:nvPr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4400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2628" name="组合 2627"/>
          <p:cNvGrpSpPr/>
          <p:nvPr/>
        </p:nvGrpSpPr>
        <p:grpSpPr>
          <a:xfrm>
            <a:off x="8470769" y="1882427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2634" name="直接连接符 2633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35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  <a:endParaRPr lang="en-US" sz="11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2636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/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2629" name="TextBox 57"/>
          <p:cNvSpPr txBox="1"/>
          <p:nvPr/>
        </p:nvSpPr>
        <p:spPr>
          <a:xfrm>
            <a:off x="8425396" y="3011739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630" name="TextBox 60"/>
          <p:cNvSpPr txBox="1"/>
          <p:nvPr/>
        </p:nvSpPr>
        <p:spPr>
          <a:xfrm>
            <a:off x="8425396" y="2394310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631" name="TextBox 61"/>
          <p:cNvSpPr txBox="1"/>
          <p:nvPr/>
        </p:nvSpPr>
        <p:spPr>
          <a:xfrm>
            <a:off x="8425396" y="4409499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632" name="TextBox 81"/>
          <p:cNvSpPr txBox="1"/>
          <p:nvPr/>
        </p:nvSpPr>
        <p:spPr>
          <a:xfrm>
            <a:off x="8425396" y="3792071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633" name="TextBox 60"/>
          <p:cNvSpPr txBox="1"/>
          <p:nvPr/>
        </p:nvSpPr>
        <p:spPr>
          <a:xfrm>
            <a:off x="8891069" y="4939387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 smtClean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3856" name="组合 3855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3857" name="组合 3856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3864" name="矩形 3863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5" name="文本框 3864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3866" name="文本框 3865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3867" name="直接连接符 3866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68" name="椭圆 3867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9" name="文本框 3868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858" name="组合 3857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3862" name="六边形 3861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3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3859" name="组合 3858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3860" name="六边形 385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92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6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837893" y="1971770"/>
            <a:ext cx="3284458" cy="1372306"/>
            <a:chOff x="1591851" y="2047941"/>
            <a:chExt cx="3284458" cy="1372306"/>
          </a:xfrm>
        </p:grpSpPr>
        <p:sp>
          <p:nvSpPr>
            <p:cNvPr id="47" name="矩形 46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57" name="矩形 3856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58" name="组合 3857"/>
          <p:cNvGrpSpPr/>
          <p:nvPr/>
        </p:nvGrpSpPr>
        <p:grpSpPr>
          <a:xfrm>
            <a:off x="4541595" y="1971770"/>
            <a:ext cx="3284458" cy="1372306"/>
            <a:chOff x="1591851" y="2047941"/>
            <a:chExt cx="3284458" cy="1372306"/>
          </a:xfrm>
        </p:grpSpPr>
        <p:sp>
          <p:nvSpPr>
            <p:cNvPr id="3859" name="矩形 3858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0" name="矩形 3859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1" name="组合 3860"/>
          <p:cNvGrpSpPr/>
          <p:nvPr/>
        </p:nvGrpSpPr>
        <p:grpSpPr>
          <a:xfrm>
            <a:off x="8245297" y="1971770"/>
            <a:ext cx="3284458" cy="1372306"/>
            <a:chOff x="1591851" y="2047941"/>
            <a:chExt cx="3284458" cy="1372306"/>
          </a:xfrm>
        </p:grpSpPr>
        <p:sp>
          <p:nvSpPr>
            <p:cNvPr id="3862" name="矩形 3861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3" name="矩形 3862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4" name="组合 3863"/>
          <p:cNvGrpSpPr/>
          <p:nvPr/>
        </p:nvGrpSpPr>
        <p:grpSpPr>
          <a:xfrm>
            <a:off x="813928" y="3712871"/>
            <a:ext cx="3284458" cy="1372306"/>
            <a:chOff x="1591851" y="2047941"/>
            <a:chExt cx="3284458" cy="1372306"/>
          </a:xfrm>
        </p:grpSpPr>
        <p:sp>
          <p:nvSpPr>
            <p:cNvPr id="3865" name="矩形 3864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6" name="矩形 3865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7" name="组合 3866"/>
          <p:cNvGrpSpPr/>
          <p:nvPr/>
        </p:nvGrpSpPr>
        <p:grpSpPr>
          <a:xfrm>
            <a:off x="4517630" y="3712871"/>
            <a:ext cx="3284458" cy="1372306"/>
            <a:chOff x="1591851" y="2047941"/>
            <a:chExt cx="3284458" cy="1372306"/>
          </a:xfrm>
        </p:grpSpPr>
        <p:sp>
          <p:nvSpPr>
            <p:cNvPr id="3868" name="矩形 3867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9" name="矩形 3868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70" name="组合 3869"/>
          <p:cNvGrpSpPr/>
          <p:nvPr/>
        </p:nvGrpSpPr>
        <p:grpSpPr>
          <a:xfrm>
            <a:off x="8221332" y="3712871"/>
            <a:ext cx="3284458" cy="1372306"/>
            <a:chOff x="1591851" y="2047941"/>
            <a:chExt cx="3284458" cy="1372306"/>
          </a:xfrm>
        </p:grpSpPr>
        <p:sp>
          <p:nvSpPr>
            <p:cNvPr id="3871" name="矩形 3870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72" name="矩形 3871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873" name="Freeform 79"/>
          <p:cNvSpPr>
            <a:spLocks noEditPoints="1"/>
          </p:cNvSpPr>
          <p:nvPr/>
        </p:nvSpPr>
        <p:spPr bwMode="auto">
          <a:xfrm>
            <a:off x="1201281" y="2438500"/>
            <a:ext cx="487608" cy="448024"/>
          </a:xfrm>
          <a:custGeom>
            <a:avLst/>
            <a:gdLst>
              <a:gd name="T0" fmla="*/ 406 w 413"/>
              <a:gd name="T1" fmla="*/ 0 h 380"/>
              <a:gd name="T2" fmla="*/ 7 w 413"/>
              <a:gd name="T3" fmla="*/ 0 h 380"/>
              <a:gd name="T4" fmla="*/ 0 w 413"/>
              <a:gd name="T5" fmla="*/ 7 h 380"/>
              <a:gd name="T6" fmla="*/ 0 w 413"/>
              <a:gd name="T7" fmla="*/ 273 h 380"/>
              <a:gd name="T8" fmla="*/ 7 w 413"/>
              <a:gd name="T9" fmla="*/ 281 h 380"/>
              <a:gd name="T10" fmla="*/ 133 w 413"/>
              <a:gd name="T11" fmla="*/ 281 h 380"/>
              <a:gd name="T12" fmla="*/ 133 w 413"/>
              <a:gd name="T13" fmla="*/ 332 h 380"/>
              <a:gd name="T14" fmla="*/ 73 w 413"/>
              <a:gd name="T15" fmla="*/ 332 h 380"/>
              <a:gd name="T16" fmla="*/ 65 w 413"/>
              <a:gd name="T17" fmla="*/ 340 h 380"/>
              <a:gd name="T18" fmla="*/ 65 w 413"/>
              <a:gd name="T19" fmla="*/ 373 h 380"/>
              <a:gd name="T20" fmla="*/ 73 w 413"/>
              <a:gd name="T21" fmla="*/ 380 h 380"/>
              <a:gd name="T22" fmla="*/ 339 w 413"/>
              <a:gd name="T23" fmla="*/ 380 h 380"/>
              <a:gd name="T24" fmla="*/ 346 w 413"/>
              <a:gd name="T25" fmla="*/ 373 h 380"/>
              <a:gd name="T26" fmla="*/ 346 w 413"/>
              <a:gd name="T27" fmla="*/ 340 h 380"/>
              <a:gd name="T28" fmla="*/ 339 w 413"/>
              <a:gd name="T29" fmla="*/ 332 h 380"/>
              <a:gd name="T30" fmla="*/ 280 w 413"/>
              <a:gd name="T31" fmla="*/ 332 h 380"/>
              <a:gd name="T32" fmla="*/ 280 w 413"/>
              <a:gd name="T33" fmla="*/ 281 h 380"/>
              <a:gd name="T34" fmla="*/ 406 w 413"/>
              <a:gd name="T35" fmla="*/ 281 h 380"/>
              <a:gd name="T36" fmla="*/ 413 w 413"/>
              <a:gd name="T37" fmla="*/ 273 h 380"/>
              <a:gd name="T38" fmla="*/ 413 w 413"/>
              <a:gd name="T39" fmla="*/ 7 h 380"/>
              <a:gd name="T40" fmla="*/ 406 w 413"/>
              <a:gd name="T41" fmla="*/ 0 h 380"/>
              <a:gd name="T42" fmla="*/ 331 w 413"/>
              <a:gd name="T43" fmla="*/ 366 h 380"/>
              <a:gd name="T44" fmla="*/ 80 w 413"/>
              <a:gd name="T45" fmla="*/ 366 h 380"/>
              <a:gd name="T46" fmla="*/ 80 w 413"/>
              <a:gd name="T47" fmla="*/ 347 h 380"/>
              <a:gd name="T48" fmla="*/ 331 w 413"/>
              <a:gd name="T49" fmla="*/ 347 h 380"/>
              <a:gd name="T50" fmla="*/ 331 w 413"/>
              <a:gd name="T51" fmla="*/ 366 h 380"/>
              <a:gd name="T52" fmla="*/ 266 w 413"/>
              <a:gd name="T53" fmla="*/ 332 h 380"/>
              <a:gd name="T54" fmla="*/ 148 w 413"/>
              <a:gd name="T55" fmla="*/ 332 h 380"/>
              <a:gd name="T56" fmla="*/ 148 w 413"/>
              <a:gd name="T57" fmla="*/ 281 h 380"/>
              <a:gd name="T58" fmla="*/ 266 w 413"/>
              <a:gd name="T59" fmla="*/ 281 h 380"/>
              <a:gd name="T60" fmla="*/ 266 w 413"/>
              <a:gd name="T61" fmla="*/ 332 h 380"/>
              <a:gd name="T62" fmla="*/ 399 w 413"/>
              <a:gd name="T63" fmla="*/ 266 h 380"/>
              <a:gd name="T64" fmla="*/ 15 w 413"/>
              <a:gd name="T65" fmla="*/ 266 h 380"/>
              <a:gd name="T66" fmla="*/ 15 w 413"/>
              <a:gd name="T67" fmla="*/ 15 h 380"/>
              <a:gd name="T68" fmla="*/ 399 w 413"/>
              <a:gd name="T69" fmla="*/ 15 h 380"/>
              <a:gd name="T70" fmla="*/ 399 w 413"/>
              <a:gd name="T71" fmla="*/ 266 h 380"/>
              <a:gd name="T72" fmla="*/ 40 w 413"/>
              <a:gd name="T73" fmla="*/ 247 h 380"/>
              <a:gd name="T74" fmla="*/ 373 w 413"/>
              <a:gd name="T75" fmla="*/ 247 h 380"/>
              <a:gd name="T76" fmla="*/ 381 w 413"/>
              <a:gd name="T77" fmla="*/ 240 h 380"/>
              <a:gd name="T78" fmla="*/ 381 w 413"/>
              <a:gd name="T79" fmla="*/ 41 h 380"/>
              <a:gd name="T80" fmla="*/ 373 w 413"/>
              <a:gd name="T81" fmla="*/ 33 h 380"/>
              <a:gd name="T82" fmla="*/ 40 w 413"/>
              <a:gd name="T83" fmla="*/ 33 h 380"/>
              <a:gd name="T84" fmla="*/ 33 w 413"/>
              <a:gd name="T85" fmla="*/ 41 h 380"/>
              <a:gd name="T86" fmla="*/ 33 w 413"/>
              <a:gd name="T87" fmla="*/ 240 h 380"/>
              <a:gd name="T88" fmla="*/ 40 w 413"/>
              <a:gd name="T89" fmla="*/ 247 h 380"/>
              <a:gd name="T90" fmla="*/ 47 w 413"/>
              <a:gd name="T91" fmla="*/ 48 h 380"/>
              <a:gd name="T92" fmla="*/ 366 w 413"/>
              <a:gd name="T93" fmla="*/ 48 h 380"/>
              <a:gd name="T94" fmla="*/ 366 w 413"/>
              <a:gd name="T95" fmla="*/ 233 h 380"/>
              <a:gd name="T96" fmla="*/ 47 w 413"/>
              <a:gd name="T97" fmla="*/ 233 h 380"/>
              <a:gd name="T98" fmla="*/ 47 w 413"/>
              <a:gd name="T99" fmla="*/ 48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13" h="380">
                <a:moveTo>
                  <a:pt x="406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273"/>
                  <a:pt x="0" y="273"/>
                  <a:pt x="0" y="273"/>
                </a:cubicBezTo>
                <a:cubicBezTo>
                  <a:pt x="0" y="277"/>
                  <a:pt x="3" y="281"/>
                  <a:pt x="7" y="281"/>
                </a:cubicBezTo>
                <a:cubicBezTo>
                  <a:pt x="133" y="281"/>
                  <a:pt x="133" y="281"/>
                  <a:pt x="133" y="281"/>
                </a:cubicBezTo>
                <a:cubicBezTo>
                  <a:pt x="133" y="332"/>
                  <a:pt x="133" y="332"/>
                  <a:pt x="133" y="332"/>
                </a:cubicBezTo>
                <a:cubicBezTo>
                  <a:pt x="73" y="332"/>
                  <a:pt x="73" y="332"/>
                  <a:pt x="73" y="332"/>
                </a:cubicBezTo>
                <a:cubicBezTo>
                  <a:pt x="69" y="332"/>
                  <a:pt x="65" y="336"/>
                  <a:pt x="65" y="340"/>
                </a:cubicBezTo>
                <a:cubicBezTo>
                  <a:pt x="65" y="373"/>
                  <a:pt x="65" y="373"/>
                  <a:pt x="65" y="373"/>
                </a:cubicBezTo>
                <a:cubicBezTo>
                  <a:pt x="65" y="377"/>
                  <a:pt x="69" y="380"/>
                  <a:pt x="73" y="380"/>
                </a:cubicBezTo>
                <a:cubicBezTo>
                  <a:pt x="339" y="380"/>
                  <a:pt x="339" y="380"/>
                  <a:pt x="339" y="380"/>
                </a:cubicBezTo>
                <a:cubicBezTo>
                  <a:pt x="343" y="380"/>
                  <a:pt x="346" y="377"/>
                  <a:pt x="346" y="373"/>
                </a:cubicBezTo>
                <a:cubicBezTo>
                  <a:pt x="346" y="340"/>
                  <a:pt x="346" y="340"/>
                  <a:pt x="346" y="340"/>
                </a:cubicBezTo>
                <a:cubicBezTo>
                  <a:pt x="346" y="336"/>
                  <a:pt x="343" y="332"/>
                  <a:pt x="339" y="332"/>
                </a:cubicBezTo>
                <a:cubicBezTo>
                  <a:pt x="280" y="332"/>
                  <a:pt x="280" y="332"/>
                  <a:pt x="280" y="332"/>
                </a:cubicBezTo>
                <a:cubicBezTo>
                  <a:pt x="280" y="281"/>
                  <a:pt x="280" y="281"/>
                  <a:pt x="280" y="281"/>
                </a:cubicBezTo>
                <a:cubicBezTo>
                  <a:pt x="406" y="281"/>
                  <a:pt x="406" y="281"/>
                  <a:pt x="406" y="281"/>
                </a:cubicBezTo>
                <a:cubicBezTo>
                  <a:pt x="410" y="281"/>
                  <a:pt x="413" y="277"/>
                  <a:pt x="413" y="273"/>
                </a:cubicBezTo>
                <a:cubicBezTo>
                  <a:pt x="413" y="7"/>
                  <a:pt x="413" y="7"/>
                  <a:pt x="413" y="7"/>
                </a:cubicBezTo>
                <a:cubicBezTo>
                  <a:pt x="413" y="3"/>
                  <a:pt x="410" y="0"/>
                  <a:pt x="406" y="0"/>
                </a:cubicBezTo>
                <a:close/>
                <a:moveTo>
                  <a:pt x="331" y="366"/>
                </a:moveTo>
                <a:cubicBezTo>
                  <a:pt x="80" y="366"/>
                  <a:pt x="80" y="366"/>
                  <a:pt x="80" y="366"/>
                </a:cubicBezTo>
                <a:cubicBezTo>
                  <a:pt x="80" y="347"/>
                  <a:pt x="80" y="347"/>
                  <a:pt x="80" y="347"/>
                </a:cubicBezTo>
                <a:cubicBezTo>
                  <a:pt x="331" y="347"/>
                  <a:pt x="331" y="347"/>
                  <a:pt x="331" y="347"/>
                </a:cubicBezTo>
                <a:lnTo>
                  <a:pt x="331" y="366"/>
                </a:lnTo>
                <a:close/>
                <a:moveTo>
                  <a:pt x="266" y="332"/>
                </a:moveTo>
                <a:cubicBezTo>
                  <a:pt x="148" y="332"/>
                  <a:pt x="148" y="332"/>
                  <a:pt x="148" y="332"/>
                </a:cubicBezTo>
                <a:cubicBezTo>
                  <a:pt x="148" y="281"/>
                  <a:pt x="148" y="281"/>
                  <a:pt x="148" y="281"/>
                </a:cubicBezTo>
                <a:cubicBezTo>
                  <a:pt x="266" y="281"/>
                  <a:pt x="266" y="281"/>
                  <a:pt x="266" y="281"/>
                </a:cubicBezTo>
                <a:lnTo>
                  <a:pt x="266" y="332"/>
                </a:lnTo>
                <a:close/>
                <a:moveTo>
                  <a:pt x="399" y="266"/>
                </a:moveTo>
                <a:cubicBezTo>
                  <a:pt x="15" y="266"/>
                  <a:pt x="15" y="266"/>
                  <a:pt x="15" y="266"/>
                </a:cubicBezTo>
                <a:cubicBezTo>
                  <a:pt x="15" y="15"/>
                  <a:pt x="15" y="15"/>
                  <a:pt x="15" y="15"/>
                </a:cubicBezTo>
                <a:cubicBezTo>
                  <a:pt x="399" y="15"/>
                  <a:pt x="399" y="15"/>
                  <a:pt x="399" y="15"/>
                </a:cubicBezTo>
                <a:lnTo>
                  <a:pt x="399" y="266"/>
                </a:lnTo>
                <a:close/>
                <a:moveTo>
                  <a:pt x="40" y="247"/>
                </a:moveTo>
                <a:cubicBezTo>
                  <a:pt x="373" y="247"/>
                  <a:pt x="373" y="247"/>
                  <a:pt x="373" y="247"/>
                </a:cubicBezTo>
                <a:cubicBezTo>
                  <a:pt x="377" y="247"/>
                  <a:pt x="381" y="244"/>
                  <a:pt x="381" y="240"/>
                </a:cubicBezTo>
                <a:cubicBezTo>
                  <a:pt x="381" y="41"/>
                  <a:pt x="381" y="41"/>
                  <a:pt x="381" y="41"/>
                </a:cubicBezTo>
                <a:cubicBezTo>
                  <a:pt x="381" y="37"/>
                  <a:pt x="377" y="33"/>
                  <a:pt x="373" y="33"/>
                </a:cubicBezTo>
                <a:cubicBezTo>
                  <a:pt x="40" y="33"/>
                  <a:pt x="40" y="33"/>
                  <a:pt x="40" y="33"/>
                </a:cubicBezTo>
                <a:cubicBezTo>
                  <a:pt x="36" y="33"/>
                  <a:pt x="33" y="37"/>
                  <a:pt x="33" y="41"/>
                </a:cubicBezTo>
                <a:cubicBezTo>
                  <a:pt x="33" y="240"/>
                  <a:pt x="33" y="240"/>
                  <a:pt x="33" y="240"/>
                </a:cubicBezTo>
                <a:cubicBezTo>
                  <a:pt x="33" y="244"/>
                  <a:pt x="36" y="247"/>
                  <a:pt x="40" y="247"/>
                </a:cubicBezTo>
                <a:close/>
                <a:moveTo>
                  <a:pt x="47" y="48"/>
                </a:moveTo>
                <a:cubicBezTo>
                  <a:pt x="366" y="48"/>
                  <a:pt x="366" y="48"/>
                  <a:pt x="366" y="48"/>
                </a:cubicBezTo>
                <a:cubicBezTo>
                  <a:pt x="366" y="233"/>
                  <a:pt x="366" y="233"/>
                  <a:pt x="366" y="233"/>
                </a:cubicBezTo>
                <a:cubicBezTo>
                  <a:pt x="47" y="233"/>
                  <a:pt x="47" y="233"/>
                  <a:pt x="47" y="233"/>
                </a:cubicBezTo>
                <a:lnTo>
                  <a:pt x="47" y="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/>
          <a:lstStyle/>
          <a:p>
            <a:endParaRPr lang="en-US"/>
          </a:p>
        </p:txBody>
      </p:sp>
      <p:sp>
        <p:nvSpPr>
          <p:cNvPr id="3874" name="Freeform 69"/>
          <p:cNvSpPr>
            <a:spLocks noEditPoints="1"/>
          </p:cNvSpPr>
          <p:nvPr/>
        </p:nvSpPr>
        <p:spPr bwMode="auto">
          <a:xfrm>
            <a:off x="4965681" y="2369000"/>
            <a:ext cx="331734" cy="488481"/>
          </a:xfrm>
          <a:custGeom>
            <a:avLst/>
            <a:gdLst>
              <a:gd name="T0" fmla="*/ 207 w 281"/>
              <a:gd name="T1" fmla="*/ 0 h 414"/>
              <a:gd name="T2" fmla="*/ 74 w 281"/>
              <a:gd name="T3" fmla="*/ 0 h 414"/>
              <a:gd name="T4" fmla="*/ 0 w 281"/>
              <a:gd name="T5" fmla="*/ 75 h 414"/>
              <a:gd name="T6" fmla="*/ 0 w 281"/>
              <a:gd name="T7" fmla="*/ 340 h 414"/>
              <a:gd name="T8" fmla="*/ 74 w 281"/>
              <a:gd name="T9" fmla="*/ 414 h 414"/>
              <a:gd name="T10" fmla="*/ 207 w 281"/>
              <a:gd name="T11" fmla="*/ 414 h 414"/>
              <a:gd name="T12" fmla="*/ 281 w 281"/>
              <a:gd name="T13" fmla="*/ 340 h 414"/>
              <a:gd name="T14" fmla="*/ 281 w 281"/>
              <a:gd name="T15" fmla="*/ 75 h 414"/>
              <a:gd name="T16" fmla="*/ 207 w 281"/>
              <a:gd name="T17" fmla="*/ 0 h 414"/>
              <a:gd name="T18" fmla="*/ 141 w 281"/>
              <a:gd name="T19" fmla="*/ 151 h 414"/>
              <a:gd name="T20" fmla="*/ 126 w 281"/>
              <a:gd name="T21" fmla="*/ 137 h 414"/>
              <a:gd name="T22" fmla="*/ 126 w 281"/>
              <a:gd name="T23" fmla="*/ 92 h 414"/>
              <a:gd name="T24" fmla="*/ 141 w 281"/>
              <a:gd name="T25" fmla="*/ 78 h 414"/>
              <a:gd name="T26" fmla="*/ 155 w 281"/>
              <a:gd name="T27" fmla="*/ 92 h 414"/>
              <a:gd name="T28" fmla="*/ 155 w 281"/>
              <a:gd name="T29" fmla="*/ 137 h 414"/>
              <a:gd name="T30" fmla="*/ 141 w 281"/>
              <a:gd name="T31" fmla="*/ 151 h 414"/>
              <a:gd name="T32" fmla="*/ 266 w 281"/>
              <a:gd name="T33" fmla="*/ 340 h 414"/>
              <a:gd name="T34" fmla="*/ 207 w 281"/>
              <a:gd name="T35" fmla="*/ 399 h 414"/>
              <a:gd name="T36" fmla="*/ 74 w 281"/>
              <a:gd name="T37" fmla="*/ 399 h 414"/>
              <a:gd name="T38" fmla="*/ 15 w 281"/>
              <a:gd name="T39" fmla="*/ 340 h 414"/>
              <a:gd name="T40" fmla="*/ 15 w 281"/>
              <a:gd name="T41" fmla="*/ 75 h 414"/>
              <a:gd name="T42" fmla="*/ 74 w 281"/>
              <a:gd name="T43" fmla="*/ 15 h 414"/>
              <a:gd name="T44" fmla="*/ 133 w 281"/>
              <a:gd name="T45" fmla="*/ 15 h 414"/>
              <a:gd name="T46" fmla="*/ 133 w 281"/>
              <a:gd name="T47" fmla="*/ 64 h 414"/>
              <a:gd name="T48" fmla="*/ 111 w 281"/>
              <a:gd name="T49" fmla="*/ 92 h 414"/>
              <a:gd name="T50" fmla="*/ 111 w 281"/>
              <a:gd name="T51" fmla="*/ 137 h 414"/>
              <a:gd name="T52" fmla="*/ 133 w 281"/>
              <a:gd name="T53" fmla="*/ 165 h 414"/>
              <a:gd name="T54" fmla="*/ 133 w 281"/>
              <a:gd name="T55" fmla="*/ 208 h 414"/>
              <a:gd name="T56" fmla="*/ 148 w 281"/>
              <a:gd name="T57" fmla="*/ 208 h 414"/>
              <a:gd name="T58" fmla="*/ 148 w 281"/>
              <a:gd name="T59" fmla="*/ 165 h 414"/>
              <a:gd name="T60" fmla="*/ 170 w 281"/>
              <a:gd name="T61" fmla="*/ 137 h 414"/>
              <a:gd name="T62" fmla="*/ 170 w 281"/>
              <a:gd name="T63" fmla="*/ 92 h 414"/>
              <a:gd name="T64" fmla="*/ 148 w 281"/>
              <a:gd name="T65" fmla="*/ 64 h 414"/>
              <a:gd name="T66" fmla="*/ 148 w 281"/>
              <a:gd name="T67" fmla="*/ 15 h 414"/>
              <a:gd name="T68" fmla="*/ 207 w 281"/>
              <a:gd name="T69" fmla="*/ 15 h 414"/>
              <a:gd name="T70" fmla="*/ 266 w 281"/>
              <a:gd name="T71" fmla="*/ 75 h 414"/>
              <a:gd name="T72" fmla="*/ 266 w 281"/>
              <a:gd name="T73" fmla="*/ 34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81" h="414">
                <a:moveTo>
                  <a:pt x="207" y="0"/>
                </a:moveTo>
                <a:cubicBezTo>
                  <a:pt x="74" y="0"/>
                  <a:pt x="74" y="0"/>
                  <a:pt x="74" y="0"/>
                </a:cubicBezTo>
                <a:cubicBezTo>
                  <a:pt x="34" y="0"/>
                  <a:pt x="0" y="34"/>
                  <a:pt x="0" y="75"/>
                </a:cubicBezTo>
                <a:cubicBezTo>
                  <a:pt x="0" y="340"/>
                  <a:pt x="0" y="340"/>
                  <a:pt x="0" y="340"/>
                </a:cubicBezTo>
                <a:cubicBezTo>
                  <a:pt x="0" y="381"/>
                  <a:pt x="34" y="414"/>
                  <a:pt x="74" y="414"/>
                </a:cubicBezTo>
                <a:cubicBezTo>
                  <a:pt x="207" y="414"/>
                  <a:pt x="207" y="414"/>
                  <a:pt x="207" y="414"/>
                </a:cubicBezTo>
                <a:cubicBezTo>
                  <a:pt x="248" y="414"/>
                  <a:pt x="281" y="381"/>
                  <a:pt x="281" y="340"/>
                </a:cubicBezTo>
                <a:cubicBezTo>
                  <a:pt x="281" y="75"/>
                  <a:pt x="281" y="75"/>
                  <a:pt x="281" y="75"/>
                </a:cubicBezTo>
                <a:cubicBezTo>
                  <a:pt x="281" y="34"/>
                  <a:pt x="248" y="0"/>
                  <a:pt x="207" y="0"/>
                </a:cubicBezTo>
                <a:close/>
                <a:moveTo>
                  <a:pt x="141" y="151"/>
                </a:moveTo>
                <a:cubicBezTo>
                  <a:pt x="133" y="151"/>
                  <a:pt x="126" y="145"/>
                  <a:pt x="126" y="137"/>
                </a:cubicBezTo>
                <a:cubicBezTo>
                  <a:pt x="126" y="92"/>
                  <a:pt x="126" y="92"/>
                  <a:pt x="126" y="92"/>
                </a:cubicBezTo>
                <a:cubicBezTo>
                  <a:pt x="126" y="84"/>
                  <a:pt x="133" y="78"/>
                  <a:pt x="141" y="78"/>
                </a:cubicBezTo>
                <a:cubicBezTo>
                  <a:pt x="149" y="78"/>
                  <a:pt x="155" y="84"/>
                  <a:pt x="155" y="92"/>
                </a:cubicBezTo>
                <a:cubicBezTo>
                  <a:pt x="155" y="137"/>
                  <a:pt x="155" y="137"/>
                  <a:pt x="155" y="137"/>
                </a:cubicBezTo>
                <a:cubicBezTo>
                  <a:pt x="155" y="145"/>
                  <a:pt x="149" y="151"/>
                  <a:pt x="141" y="151"/>
                </a:cubicBezTo>
                <a:close/>
                <a:moveTo>
                  <a:pt x="266" y="340"/>
                </a:moveTo>
                <a:cubicBezTo>
                  <a:pt x="266" y="373"/>
                  <a:pt x="239" y="399"/>
                  <a:pt x="207" y="399"/>
                </a:cubicBezTo>
                <a:cubicBezTo>
                  <a:pt x="74" y="399"/>
                  <a:pt x="74" y="399"/>
                  <a:pt x="74" y="399"/>
                </a:cubicBezTo>
                <a:cubicBezTo>
                  <a:pt x="42" y="399"/>
                  <a:pt x="15" y="373"/>
                  <a:pt x="15" y="340"/>
                </a:cubicBezTo>
                <a:cubicBezTo>
                  <a:pt x="15" y="75"/>
                  <a:pt x="15" y="75"/>
                  <a:pt x="15" y="75"/>
                </a:cubicBezTo>
                <a:cubicBezTo>
                  <a:pt x="15" y="42"/>
                  <a:pt x="42" y="15"/>
                  <a:pt x="74" y="15"/>
                </a:cubicBezTo>
                <a:cubicBezTo>
                  <a:pt x="133" y="15"/>
                  <a:pt x="133" y="15"/>
                  <a:pt x="133" y="15"/>
                </a:cubicBezTo>
                <a:cubicBezTo>
                  <a:pt x="133" y="64"/>
                  <a:pt x="133" y="64"/>
                  <a:pt x="133" y="64"/>
                </a:cubicBezTo>
                <a:cubicBezTo>
                  <a:pt x="121" y="68"/>
                  <a:pt x="111" y="79"/>
                  <a:pt x="111" y="92"/>
                </a:cubicBezTo>
                <a:cubicBezTo>
                  <a:pt x="111" y="137"/>
                  <a:pt x="111" y="137"/>
                  <a:pt x="111" y="137"/>
                </a:cubicBezTo>
                <a:cubicBezTo>
                  <a:pt x="111" y="150"/>
                  <a:pt x="121" y="162"/>
                  <a:pt x="133" y="165"/>
                </a:cubicBezTo>
                <a:cubicBezTo>
                  <a:pt x="133" y="208"/>
                  <a:pt x="133" y="208"/>
                  <a:pt x="133" y="208"/>
                </a:cubicBezTo>
                <a:cubicBezTo>
                  <a:pt x="148" y="208"/>
                  <a:pt x="148" y="208"/>
                  <a:pt x="148" y="208"/>
                </a:cubicBezTo>
                <a:cubicBezTo>
                  <a:pt x="148" y="165"/>
                  <a:pt x="148" y="165"/>
                  <a:pt x="148" y="165"/>
                </a:cubicBezTo>
                <a:cubicBezTo>
                  <a:pt x="160" y="162"/>
                  <a:pt x="170" y="150"/>
                  <a:pt x="170" y="137"/>
                </a:cubicBezTo>
                <a:cubicBezTo>
                  <a:pt x="170" y="92"/>
                  <a:pt x="170" y="92"/>
                  <a:pt x="170" y="92"/>
                </a:cubicBezTo>
                <a:cubicBezTo>
                  <a:pt x="170" y="79"/>
                  <a:pt x="160" y="68"/>
                  <a:pt x="148" y="64"/>
                </a:cubicBezTo>
                <a:cubicBezTo>
                  <a:pt x="148" y="15"/>
                  <a:pt x="148" y="15"/>
                  <a:pt x="148" y="15"/>
                </a:cubicBezTo>
                <a:cubicBezTo>
                  <a:pt x="207" y="15"/>
                  <a:pt x="207" y="15"/>
                  <a:pt x="207" y="15"/>
                </a:cubicBezTo>
                <a:cubicBezTo>
                  <a:pt x="239" y="15"/>
                  <a:pt x="266" y="42"/>
                  <a:pt x="266" y="75"/>
                </a:cubicBezTo>
                <a:lnTo>
                  <a:pt x="266" y="3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/>
          <a:lstStyle/>
          <a:p>
            <a:endParaRPr lang="en-US"/>
          </a:p>
        </p:txBody>
      </p:sp>
      <p:sp>
        <p:nvSpPr>
          <p:cNvPr id="3875" name="Freeform 78"/>
          <p:cNvSpPr>
            <a:spLocks noEditPoints="1"/>
          </p:cNvSpPr>
          <p:nvPr/>
        </p:nvSpPr>
        <p:spPr bwMode="auto">
          <a:xfrm>
            <a:off x="8659243" y="2438839"/>
            <a:ext cx="409671" cy="409565"/>
          </a:xfrm>
          <a:custGeom>
            <a:avLst/>
            <a:gdLst>
              <a:gd name="T0" fmla="*/ 174 w 347"/>
              <a:gd name="T1" fmla="*/ 0 h 347"/>
              <a:gd name="T2" fmla="*/ 0 w 347"/>
              <a:gd name="T3" fmla="*/ 174 h 347"/>
              <a:gd name="T4" fmla="*/ 174 w 347"/>
              <a:gd name="T5" fmla="*/ 347 h 347"/>
              <a:gd name="T6" fmla="*/ 347 w 347"/>
              <a:gd name="T7" fmla="*/ 174 h 347"/>
              <a:gd name="T8" fmla="*/ 174 w 347"/>
              <a:gd name="T9" fmla="*/ 0 h 347"/>
              <a:gd name="T10" fmla="*/ 332 w 347"/>
              <a:gd name="T11" fmla="*/ 166 h 347"/>
              <a:gd name="T12" fmla="*/ 283 w 347"/>
              <a:gd name="T13" fmla="*/ 166 h 347"/>
              <a:gd name="T14" fmla="*/ 231 w 347"/>
              <a:gd name="T15" fmla="*/ 26 h 347"/>
              <a:gd name="T16" fmla="*/ 332 w 347"/>
              <a:gd name="T17" fmla="*/ 166 h 347"/>
              <a:gd name="T18" fmla="*/ 174 w 347"/>
              <a:gd name="T19" fmla="*/ 332 h 347"/>
              <a:gd name="T20" fmla="*/ 147 w 347"/>
              <a:gd name="T21" fmla="*/ 181 h 347"/>
              <a:gd name="T22" fmla="*/ 200 w 347"/>
              <a:gd name="T23" fmla="*/ 181 h 347"/>
              <a:gd name="T24" fmla="*/ 174 w 347"/>
              <a:gd name="T25" fmla="*/ 332 h 347"/>
              <a:gd name="T26" fmla="*/ 147 w 347"/>
              <a:gd name="T27" fmla="*/ 166 h 347"/>
              <a:gd name="T28" fmla="*/ 174 w 347"/>
              <a:gd name="T29" fmla="*/ 15 h 347"/>
              <a:gd name="T30" fmla="*/ 174 w 347"/>
              <a:gd name="T31" fmla="*/ 15 h 347"/>
              <a:gd name="T32" fmla="*/ 200 w 347"/>
              <a:gd name="T33" fmla="*/ 166 h 347"/>
              <a:gd name="T34" fmla="*/ 147 w 347"/>
              <a:gd name="T35" fmla="*/ 166 h 347"/>
              <a:gd name="T36" fmla="*/ 153 w 347"/>
              <a:gd name="T37" fmla="*/ 19 h 347"/>
              <a:gd name="T38" fmla="*/ 133 w 347"/>
              <a:gd name="T39" fmla="*/ 166 h 347"/>
              <a:gd name="T40" fmla="*/ 79 w 347"/>
              <a:gd name="T41" fmla="*/ 166 h 347"/>
              <a:gd name="T42" fmla="*/ 153 w 347"/>
              <a:gd name="T43" fmla="*/ 19 h 347"/>
              <a:gd name="T44" fmla="*/ 133 w 347"/>
              <a:gd name="T45" fmla="*/ 181 h 347"/>
              <a:gd name="T46" fmla="*/ 153 w 347"/>
              <a:gd name="T47" fmla="*/ 329 h 347"/>
              <a:gd name="T48" fmla="*/ 79 w 347"/>
              <a:gd name="T49" fmla="*/ 181 h 347"/>
              <a:gd name="T50" fmla="*/ 133 w 347"/>
              <a:gd name="T51" fmla="*/ 181 h 347"/>
              <a:gd name="T52" fmla="*/ 194 w 347"/>
              <a:gd name="T53" fmla="*/ 329 h 347"/>
              <a:gd name="T54" fmla="*/ 215 w 347"/>
              <a:gd name="T55" fmla="*/ 181 h 347"/>
              <a:gd name="T56" fmla="*/ 268 w 347"/>
              <a:gd name="T57" fmla="*/ 181 h 347"/>
              <a:gd name="T58" fmla="*/ 194 w 347"/>
              <a:gd name="T59" fmla="*/ 329 h 347"/>
              <a:gd name="T60" fmla="*/ 215 w 347"/>
              <a:gd name="T61" fmla="*/ 166 h 347"/>
              <a:gd name="T62" fmla="*/ 194 w 347"/>
              <a:gd name="T63" fmla="*/ 19 h 347"/>
              <a:gd name="T64" fmla="*/ 268 w 347"/>
              <a:gd name="T65" fmla="*/ 166 h 347"/>
              <a:gd name="T66" fmla="*/ 215 w 347"/>
              <a:gd name="T67" fmla="*/ 166 h 347"/>
              <a:gd name="T68" fmla="*/ 117 w 347"/>
              <a:gd name="T69" fmla="*/ 26 h 347"/>
              <a:gd name="T70" fmla="*/ 64 w 347"/>
              <a:gd name="T71" fmla="*/ 166 h 347"/>
              <a:gd name="T72" fmla="*/ 15 w 347"/>
              <a:gd name="T73" fmla="*/ 166 h 347"/>
              <a:gd name="T74" fmla="*/ 117 w 347"/>
              <a:gd name="T75" fmla="*/ 26 h 347"/>
              <a:gd name="T76" fmla="*/ 15 w 347"/>
              <a:gd name="T77" fmla="*/ 181 h 347"/>
              <a:gd name="T78" fmla="*/ 64 w 347"/>
              <a:gd name="T79" fmla="*/ 181 h 347"/>
              <a:gd name="T80" fmla="*/ 117 w 347"/>
              <a:gd name="T81" fmla="*/ 322 h 347"/>
              <a:gd name="T82" fmla="*/ 15 w 347"/>
              <a:gd name="T83" fmla="*/ 181 h 347"/>
              <a:gd name="T84" fmla="*/ 231 w 347"/>
              <a:gd name="T85" fmla="*/ 322 h 347"/>
              <a:gd name="T86" fmla="*/ 283 w 347"/>
              <a:gd name="T87" fmla="*/ 181 h 347"/>
              <a:gd name="T88" fmla="*/ 332 w 347"/>
              <a:gd name="T89" fmla="*/ 181 h 347"/>
              <a:gd name="T90" fmla="*/ 231 w 347"/>
              <a:gd name="T91" fmla="*/ 322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47" h="347">
                <a:moveTo>
                  <a:pt x="174" y="0"/>
                </a:moveTo>
                <a:cubicBezTo>
                  <a:pt x="78" y="0"/>
                  <a:pt x="0" y="78"/>
                  <a:pt x="0" y="174"/>
                </a:cubicBezTo>
                <a:cubicBezTo>
                  <a:pt x="0" y="269"/>
                  <a:pt x="78" y="347"/>
                  <a:pt x="174" y="347"/>
                </a:cubicBezTo>
                <a:cubicBezTo>
                  <a:pt x="269" y="347"/>
                  <a:pt x="347" y="269"/>
                  <a:pt x="347" y="174"/>
                </a:cubicBezTo>
                <a:cubicBezTo>
                  <a:pt x="347" y="78"/>
                  <a:pt x="269" y="0"/>
                  <a:pt x="174" y="0"/>
                </a:cubicBezTo>
                <a:close/>
                <a:moveTo>
                  <a:pt x="332" y="166"/>
                </a:moveTo>
                <a:cubicBezTo>
                  <a:pt x="283" y="166"/>
                  <a:pt x="283" y="166"/>
                  <a:pt x="283" y="166"/>
                </a:cubicBezTo>
                <a:cubicBezTo>
                  <a:pt x="281" y="107"/>
                  <a:pt x="261" y="55"/>
                  <a:pt x="231" y="26"/>
                </a:cubicBezTo>
                <a:cubicBezTo>
                  <a:pt x="288" y="48"/>
                  <a:pt x="329" y="102"/>
                  <a:pt x="332" y="166"/>
                </a:cubicBezTo>
                <a:close/>
                <a:moveTo>
                  <a:pt x="174" y="332"/>
                </a:moveTo>
                <a:cubicBezTo>
                  <a:pt x="165" y="330"/>
                  <a:pt x="148" y="277"/>
                  <a:pt x="147" y="181"/>
                </a:cubicBezTo>
                <a:cubicBezTo>
                  <a:pt x="200" y="181"/>
                  <a:pt x="200" y="181"/>
                  <a:pt x="200" y="181"/>
                </a:cubicBezTo>
                <a:cubicBezTo>
                  <a:pt x="199" y="277"/>
                  <a:pt x="183" y="330"/>
                  <a:pt x="174" y="332"/>
                </a:cubicBezTo>
                <a:close/>
                <a:moveTo>
                  <a:pt x="147" y="166"/>
                </a:moveTo>
                <a:cubicBezTo>
                  <a:pt x="148" y="70"/>
                  <a:pt x="165" y="17"/>
                  <a:pt x="174" y="15"/>
                </a:cubicBezTo>
                <a:cubicBezTo>
                  <a:pt x="174" y="15"/>
                  <a:pt x="174" y="15"/>
                  <a:pt x="174" y="15"/>
                </a:cubicBezTo>
                <a:cubicBezTo>
                  <a:pt x="183" y="17"/>
                  <a:pt x="199" y="70"/>
                  <a:pt x="200" y="166"/>
                </a:cubicBezTo>
                <a:lnTo>
                  <a:pt x="147" y="166"/>
                </a:lnTo>
                <a:close/>
                <a:moveTo>
                  <a:pt x="153" y="19"/>
                </a:moveTo>
                <a:cubicBezTo>
                  <a:pt x="138" y="51"/>
                  <a:pt x="133" y="118"/>
                  <a:pt x="133" y="166"/>
                </a:cubicBezTo>
                <a:cubicBezTo>
                  <a:pt x="79" y="166"/>
                  <a:pt x="79" y="166"/>
                  <a:pt x="79" y="166"/>
                </a:cubicBezTo>
                <a:cubicBezTo>
                  <a:pt x="81" y="94"/>
                  <a:pt x="112" y="34"/>
                  <a:pt x="153" y="19"/>
                </a:cubicBezTo>
                <a:close/>
                <a:moveTo>
                  <a:pt x="133" y="181"/>
                </a:moveTo>
                <a:cubicBezTo>
                  <a:pt x="133" y="229"/>
                  <a:pt x="138" y="296"/>
                  <a:pt x="153" y="329"/>
                </a:cubicBezTo>
                <a:cubicBezTo>
                  <a:pt x="112" y="313"/>
                  <a:pt x="81" y="254"/>
                  <a:pt x="79" y="181"/>
                </a:cubicBezTo>
                <a:lnTo>
                  <a:pt x="133" y="181"/>
                </a:lnTo>
                <a:close/>
                <a:moveTo>
                  <a:pt x="194" y="329"/>
                </a:moveTo>
                <a:cubicBezTo>
                  <a:pt x="209" y="296"/>
                  <a:pt x="214" y="229"/>
                  <a:pt x="215" y="181"/>
                </a:cubicBezTo>
                <a:cubicBezTo>
                  <a:pt x="268" y="181"/>
                  <a:pt x="268" y="181"/>
                  <a:pt x="268" y="181"/>
                </a:cubicBezTo>
                <a:cubicBezTo>
                  <a:pt x="266" y="254"/>
                  <a:pt x="235" y="313"/>
                  <a:pt x="194" y="329"/>
                </a:cubicBezTo>
                <a:close/>
                <a:moveTo>
                  <a:pt x="215" y="166"/>
                </a:moveTo>
                <a:cubicBezTo>
                  <a:pt x="214" y="118"/>
                  <a:pt x="209" y="51"/>
                  <a:pt x="194" y="19"/>
                </a:cubicBezTo>
                <a:cubicBezTo>
                  <a:pt x="235" y="34"/>
                  <a:pt x="266" y="94"/>
                  <a:pt x="268" y="166"/>
                </a:cubicBezTo>
                <a:lnTo>
                  <a:pt x="215" y="166"/>
                </a:lnTo>
                <a:close/>
                <a:moveTo>
                  <a:pt x="117" y="26"/>
                </a:moveTo>
                <a:cubicBezTo>
                  <a:pt x="87" y="55"/>
                  <a:pt x="66" y="107"/>
                  <a:pt x="64" y="166"/>
                </a:cubicBezTo>
                <a:cubicBezTo>
                  <a:pt x="15" y="166"/>
                  <a:pt x="15" y="166"/>
                  <a:pt x="15" y="166"/>
                </a:cubicBezTo>
                <a:cubicBezTo>
                  <a:pt x="18" y="102"/>
                  <a:pt x="59" y="48"/>
                  <a:pt x="117" y="26"/>
                </a:cubicBezTo>
                <a:close/>
                <a:moveTo>
                  <a:pt x="15" y="181"/>
                </a:moveTo>
                <a:cubicBezTo>
                  <a:pt x="64" y="181"/>
                  <a:pt x="64" y="181"/>
                  <a:pt x="64" y="181"/>
                </a:cubicBezTo>
                <a:cubicBezTo>
                  <a:pt x="66" y="241"/>
                  <a:pt x="87" y="292"/>
                  <a:pt x="117" y="322"/>
                </a:cubicBezTo>
                <a:cubicBezTo>
                  <a:pt x="59" y="300"/>
                  <a:pt x="18" y="245"/>
                  <a:pt x="15" y="181"/>
                </a:cubicBezTo>
                <a:close/>
                <a:moveTo>
                  <a:pt x="231" y="322"/>
                </a:moveTo>
                <a:cubicBezTo>
                  <a:pt x="261" y="292"/>
                  <a:pt x="281" y="241"/>
                  <a:pt x="283" y="181"/>
                </a:cubicBezTo>
                <a:cubicBezTo>
                  <a:pt x="332" y="181"/>
                  <a:pt x="332" y="181"/>
                  <a:pt x="332" y="181"/>
                </a:cubicBezTo>
                <a:cubicBezTo>
                  <a:pt x="329" y="245"/>
                  <a:pt x="288" y="300"/>
                  <a:pt x="231" y="3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/>
          <a:lstStyle/>
          <a:p>
            <a:endParaRPr lang="en-US"/>
          </a:p>
        </p:txBody>
      </p:sp>
      <p:sp>
        <p:nvSpPr>
          <p:cNvPr id="3876" name="Freeform 80"/>
          <p:cNvSpPr>
            <a:spLocks noEditPoints="1"/>
          </p:cNvSpPr>
          <p:nvPr/>
        </p:nvSpPr>
        <p:spPr bwMode="auto">
          <a:xfrm>
            <a:off x="1256636" y="4134370"/>
            <a:ext cx="330234" cy="486983"/>
          </a:xfrm>
          <a:custGeom>
            <a:avLst/>
            <a:gdLst>
              <a:gd name="T0" fmla="*/ 273 w 280"/>
              <a:gd name="T1" fmla="*/ 0 h 413"/>
              <a:gd name="T2" fmla="*/ 7 w 280"/>
              <a:gd name="T3" fmla="*/ 0 h 413"/>
              <a:gd name="T4" fmla="*/ 0 w 280"/>
              <a:gd name="T5" fmla="*/ 7 h 413"/>
              <a:gd name="T6" fmla="*/ 0 w 280"/>
              <a:gd name="T7" fmla="*/ 406 h 413"/>
              <a:gd name="T8" fmla="*/ 7 w 280"/>
              <a:gd name="T9" fmla="*/ 413 h 413"/>
              <a:gd name="T10" fmla="*/ 273 w 280"/>
              <a:gd name="T11" fmla="*/ 413 h 413"/>
              <a:gd name="T12" fmla="*/ 280 w 280"/>
              <a:gd name="T13" fmla="*/ 406 h 413"/>
              <a:gd name="T14" fmla="*/ 280 w 280"/>
              <a:gd name="T15" fmla="*/ 7 h 413"/>
              <a:gd name="T16" fmla="*/ 273 w 280"/>
              <a:gd name="T17" fmla="*/ 0 h 413"/>
              <a:gd name="T18" fmla="*/ 266 w 280"/>
              <a:gd name="T19" fmla="*/ 398 h 413"/>
              <a:gd name="T20" fmla="*/ 14 w 280"/>
              <a:gd name="T21" fmla="*/ 398 h 413"/>
              <a:gd name="T22" fmla="*/ 14 w 280"/>
              <a:gd name="T23" fmla="*/ 14 h 413"/>
              <a:gd name="T24" fmla="*/ 266 w 280"/>
              <a:gd name="T25" fmla="*/ 14 h 413"/>
              <a:gd name="T26" fmla="*/ 266 w 280"/>
              <a:gd name="T27" fmla="*/ 398 h 413"/>
              <a:gd name="T28" fmla="*/ 108 w 280"/>
              <a:gd name="T29" fmla="*/ 81 h 413"/>
              <a:gd name="T30" fmla="*/ 174 w 280"/>
              <a:gd name="T31" fmla="*/ 81 h 413"/>
              <a:gd name="T32" fmla="*/ 198 w 280"/>
              <a:gd name="T33" fmla="*/ 57 h 413"/>
              <a:gd name="T34" fmla="*/ 174 w 280"/>
              <a:gd name="T35" fmla="*/ 33 h 413"/>
              <a:gd name="T36" fmla="*/ 108 w 280"/>
              <a:gd name="T37" fmla="*/ 33 h 413"/>
              <a:gd name="T38" fmla="*/ 84 w 280"/>
              <a:gd name="T39" fmla="*/ 57 h 413"/>
              <a:gd name="T40" fmla="*/ 108 w 280"/>
              <a:gd name="T41" fmla="*/ 81 h 413"/>
              <a:gd name="T42" fmla="*/ 108 w 280"/>
              <a:gd name="T43" fmla="*/ 48 h 413"/>
              <a:gd name="T44" fmla="*/ 174 w 280"/>
              <a:gd name="T45" fmla="*/ 48 h 413"/>
              <a:gd name="T46" fmla="*/ 184 w 280"/>
              <a:gd name="T47" fmla="*/ 57 h 413"/>
              <a:gd name="T48" fmla="*/ 174 w 280"/>
              <a:gd name="T49" fmla="*/ 66 h 413"/>
              <a:gd name="T50" fmla="*/ 108 w 280"/>
              <a:gd name="T51" fmla="*/ 66 h 413"/>
              <a:gd name="T52" fmla="*/ 99 w 280"/>
              <a:gd name="T53" fmla="*/ 57 h 413"/>
              <a:gd name="T54" fmla="*/ 108 w 280"/>
              <a:gd name="T55" fmla="*/ 48 h 413"/>
              <a:gd name="T56" fmla="*/ 140 w 280"/>
              <a:gd name="T57" fmla="*/ 207 h 413"/>
              <a:gd name="T58" fmla="*/ 73 w 280"/>
              <a:gd name="T59" fmla="*/ 207 h 413"/>
              <a:gd name="T60" fmla="*/ 73 w 280"/>
              <a:gd name="T61" fmla="*/ 140 h 413"/>
              <a:gd name="T62" fmla="*/ 140 w 280"/>
              <a:gd name="T63" fmla="*/ 140 h 413"/>
              <a:gd name="T64" fmla="*/ 140 w 280"/>
              <a:gd name="T65" fmla="*/ 207 h 413"/>
              <a:gd name="T66" fmla="*/ 206 w 280"/>
              <a:gd name="T67" fmla="*/ 280 h 413"/>
              <a:gd name="T68" fmla="*/ 74 w 280"/>
              <a:gd name="T69" fmla="*/ 280 h 413"/>
              <a:gd name="T70" fmla="*/ 74 w 280"/>
              <a:gd name="T71" fmla="*/ 266 h 413"/>
              <a:gd name="T72" fmla="*/ 206 w 280"/>
              <a:gd name="T73" fmla="*/ 266 h 413"/>
              <a:gd name="T74" fmla="*/ 206 w 280"/>
              <a:gd name="T75" fmla="*/ 280 h 413"/>
              <a:gd name="T76" fmla="*/ 75 w 280"/>
              <a:gd name="T77" fmla="*/ 232 h 413"/>
              <a:gd name="T78" fmla="*/ 207 w 280"/>
              <a:gd name="T79" fmla="*/ 232 h 413"/>
              <a:gd name="T80" fmla="*/ 207 w 280"/>
              <a:gd name="T81" fmla="*/ 247 h 413"/>
              <a:gd name="T82" fmla="*/ 75 w 280"/>
              <a:gd name="T83" fmla="*/ 247 h 413"/>
              <a:gd name="T84" fmla="*/ 75 w 280"/>
              <a:gd name="T85" fmla="*/ 232 h 413"/>
              <a:gd name="T86" fmla="*/ 74 w 280"/>
              <a:gd name="T87" fmla="*/ 313 h 413"/>
              <a:gd name="T88" fmla="*/ 74 w 280"/>
              <a:gd name="T89" fmla="*/ 299 h 413"/>
              <a:gd name="T90" fmla="*/ 206 w 280"/>
              <a:gd name="T91" fmla="*/ 299 h 413"/>
              <a:gd name="T92" fmla="*/ 206 w 280"/>
              <a:gd name="T93" fmla="*/ 313 h 413"/>
              <a:gd name="T94" fmla="*/ 74 w 280"/>
              <a:gd name="T95" fmla="*/ 313 h 413"/>
              <a:gd name="T96" fmla="*/ 206 w 280"/>
              <a:gd name="T97" fmla="*/ 347 h 413"/>
              <a:gd name="T98" fmla="*/ 73 w 280"/>
              <a:gd name="T99" fmla="*/ 347 h 413"/>
              <a:gd name="T100" fmla="*/ 73 w 280"/>
              <a:gd name="T101" fmla="*/ 332 h 413"/>
              <a:gd name="T102" fmla="*/ 206 w 280"/>
              <a:gd name="T103" fmla="*/ 332 h 413"/>
              <a:gd name="T104" fmla="*/ 206 w 280"/>
              <a:gd name="T105" fmla="*/ 347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80" h="413">
                <a:moveTo>
                  <a:pt x="273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406"/>
                  <a:pt x="0" y="406"/>
                  <a:pt x="0" y="406"/>
                </a:cubicBezTo>
                <a:cubicBezTo>
                  <a:pt x="0" y="410"/>
                  <a:pt x="3" y="413"/>
                  <a:pt x="7" y="413"/>
                </a:cubicBezTo>
                <a:cubicBezTo>
                  <a:pt x="273" y="413"/>
                  <a:pt x="273" y="413"/>
                  <a:pt x="273" y="413"/>
                </a:cubicBezTo>
                <a:cubicBezTo>
                  <a:pt x="277" y="413"/>
                  <a:pt x="280" y="410"/>
                  <a:pt x="280" y="406"/>
                </a:cubicBezTo>
                <a:cubicBezTo>
                  <a:pt x="280" y="7"/>
                  <a:pt x="280" y="7"/>
                  <a:pt x="280" y="7"/>
                </a:cubicBezTo>
                <a:cubicBezTo>
                  <a:pt x="280" y="3"/>
                  <a:pt x="277" y="0"/>
                  <a:pt x="273" y="0"/>
                </a:cubicBezTo>
                <a:close/>
                <a:moveTo>
                  <a:pt x="266" y="398"/>
                </a:moveTo>
                <a:cubicBezTo>
                  <a:pt x="14" y="398"/>
                  <a:pt x="14" y="398"/>
                  <a:pt x="14" y="398"/>
                </a:cubicBezTo>
                <a:cubicBezTo>
                  <a:pt x="14" y="14"/>
                  <a:pt x="14" y="14"/>
                  <a:pt x="14" y="14"/>
                </a:cubicBezTo>
                <a:cubicBezTo>
                  <a:pt x="266" y="14"/>
                  <a:pt x="266" y="14"/>
                  <a:pt x="266" y="14"/>
                </a:cubicBezTo>
                <a:lnTo>
                  <a:pt x="266" y="398"/>
                </a:lnTo>
                <a:close/>
                <a:moveTo>
                  <a:pt x="108" y="81"/>
                </a:moveTo>
                <a:cubicBezTo>
                  <a:pt x="174" y="81"/>
                  <a:pt x="174" y="81"/>
                  <a:pt x="174" y="81"/>
                </a:cubicBezTo>
                <a:cubicBezTo>
                  <a:pt x="187" y="81"/>
                  <a:pt x="198" y="70"/>
                  <a:pt x="198" y="57"/>
                </a:cubicBezTo>
                <a:cubicBezTo>
                  <a:pt x="198" y="44"/>
                  <a:pt x="187" y="33"/>
                  <a:pt x="174" y="33"/>
                </a:cubicBezTo>
                <a:cubicBezTo>
                  <a:pt x="108" y="33"/>
                  <a:pt x="108" y="33"/>
                  <a:pt x="108" y="33"/>
                </a:cubicBezTo>
                <a:cubicBezTo>
                  <a:pt x="95" y="33"/>
                  <a:pt x="84" y="44"/>
                  <a:pt x="84" y="57"/>
                </a:cubicBezTo>
                <a:cubicBezTo>
                  <a:pt x="84" y="70"/>
                  <a:pt x="95" y="81"/>
                  <a:pt x="108" y="81"/>
                </a:cubicBezTo>
                <a:close/>
                <a:moveTo>
                  <a:pt x="108" y="48"/>
                </a:moveTo>
                <a:cubicBezTo>
                  <a:pt x="174" y="48"/>
                  <a:pt x="174" y="48"/>
                  <a:pt x="174" y="48"/>
                </a:cubicBezTo>
                <a:cubicBezTo>
                  <a:pt x="179" y="48"/>
                  <a:pt x="184" y="52"/>
                  <a:pt x="184" y="57"/>
                </a:cubicBezTo>
                <a:cubicBezTo>
                  <a:pt x="184" y="62"/>
                  <a:pt x="179" y="66"/>
                  <a:pt x="174" y="66"/>
                </a:cubicBezTo>
                <a:cubicBezTo>
                  <a:pt x="108" y="66"/>
                  <a:pt x="108" y="66"/>
                  <a:pt x="108" y="66"/>
                </a:cubicBezTo>
                <a:cubicBezTo>
                  <a:pt x="103" y="66"/>
                  <a:pt x="99" y="62"/>
                  <a:pt x="99" y="57"/>
                </a:cubicBezTo>
                <a:cubicBezTo>
                  <a:pt x="99" y="52"/>
                  <a:pt x="103" y="48"/>
                  <a:pt x="108" y="48"/>
                </a:cubicBezTo>
                <a:close/>
                <a:moveTo>
                  <a:pt x="140" y="207"/>
                </a:moveTo>
                <a:cubicBezTo>
                  <a:pt x="73" y="207"/>
                  <a:pt x="73" y="207"/>
                  <a:pt x="73" y="207"/>
                </a:cubicBezTo>
                <a:cubicBezTo>
                  <a:pt x="73" y="140"/>
                  <a:pt x="73" y="140"/>
                  <a:pt x="73" y="140"/>
                </a:cubicBezTo>
                <a:cubicBezTo>
                  <a:pt x="140" y="140"/>
                  <a:pt x="140" y="140"/>
                  <a:pt x="140" y="140"/>
                </a:cubicBezTo>
                <a:lnTo>
                  <a:pt x="140" y="207"/>
                </a:lnTo>
                <a:close/>
                <a:moveTo>
                  <a:pt x="206" y="280"/>
                </a:moveTo>
                <a:cubicBezTo>
                  <a:pt x="74" y="280"/>
                  <a:pt x="74" y="280"/>
                  <a:pt x="74" y="280"/>
                </a:cubicBezTo>
                <a:cubicBezTo>
                  <a:pt x="74" y="266"/>
                  <a:pt x="74" y="266"/>
                  <a:pt x="74" y="266"/>
                </a:cubicBezTo>
                <a:cubicBezTo>
                  <a:pt x="206" y="266"/>
                  <a:pt x="206" y="266"/>
                  <a:pt x="206" y="266"/>
                </a:cubicBezTo>
                <a:lnTo>
                  <a:pt x="206" y="280"/>
                </a:lnTo>
                <a:close/>
                <a:moveTo>
                  <a:pt x="75" y="232"/>
                </a:moveTo>
                <a:cubicBezTo>
                  <a:pt x="207" y="232"/>
                  <a:pt x="207" y="232"/>
                  <a:pt x="207" y="232"/>
                </a:cubicBezTo>
                <a:cubicBezTo>
                  <a:pt x="207" y="247"/>
                  <a:pt x="207" y="247"/>
                  <a:pt x="207" y="247"/>
                </a:cubicBezTo>
                <a:cubicBezTo>
                  <a:pt x="75" y="247"/>
                  <a:pt x="75" y="247"/>
                  <a:pt x="75" y="247"/>
                </a:cubicBezTo>
                <a:lnTo>
                  <a:pt x="75" y="232"/>
                </a:lnTo>
                <a:close/>
                <a:moveTo>
                  <a:pt x="74" y="313"/>
                </a:moveTo>
                <a:cubicBezTo>
                  <a:pt x="74" y="299"/>
                  <a:pt x="74" y="299"/>
                  <a:pt x="74" y="299"/>
                </a:cubicBezTo>
                <a:cubicBezTo>
                  <a:pt x="206" y="299"/>
                  <a:pt x="206" y="299"/>
                  <a:pt x="206" y="299"/>
                </a:cubicBezTo>
                <a:cubicBezTo>
                  <a:pt x="206" y="313"/>
                  <a:pt x="206" y="313"/>
                  <a:pt x="206" y="313"/>
                </a:cubicBezTo>
                <a:lnTo>
                  <a:pt x="74" y="313"/>
                </a:lnTo>
                <a:close/>
                <a:moveTo>
                  <a:pt x="206" y="347"/>
                </a:moveTo>
                <a:cubicBezTo>
                  <a:pt x="73" y="347"/>
                  <a:pt x="73" y="347"/>
                  <a:pt x="73" y="347"/>
                </a:cubicBezTo>
                <a:cubicBezTo>
                  <a:pt x="73" y="332"/>
                  <a:pt x="73" y="332"/>
                  <a:pt x="73" y="332"/>
                </a:cubicBezTo>
                <a:cubicBezTo>
                  <a:pt x="206" y="332"/>
                  <a:pt x="206" y="332"/>
                  <a:pt x="206" y="332"/>
                </a:cubicBezTo>
                <a:lnTo>
                  <a:pt x="206" y="3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/>
          <a:lstStyle/>
          <a:p>
            <a:endParaRPr lang="en-US"/>
          </a:p>
        </p:txBody>
      </p:sp>
      <p:sp>
        <p:nvSpPr>
          <p:cNvPr id="3877" name="Freeform 77"/>
          <p:cNvSpPr>
            <a:spLocks noEditPoints="1"/>
          </p:cNvSpPr>
          <p:nvPr/>
        </p:nvSpPr>
        <p:spPr bwMode="auto">
          <a:xfrm>
            <a:off x="4875673" y="4186008"/>
            <a:ext cx="487109" cy="334145"/>
          </a:xfrm>
          <a:custGeom>
            <a:avLst/>
            <a:gdLst>
              <a:gd name="T0" fmla="*/ 340 w 413"/>
              <a:gd name="T1" fmla="*/ 283 h 283"/>
              <a:gd name="T2" fmla="*/ 73 w 413"/>
              <a:gd name="T3" fmla="*/ 283 h 283"/>
              <a:gd name="T4" fmla="*/ 72 w 413"/>
              <a:gd name="T5" fmla="*/ 283 h 283"/>
              <a:gd name="T6" fmla="*/ 0 w 413"/>
              <a:gd name="T7" fmla="*/ 209 h 283"/>
              <a:gd name="T8" fmla="*/ 70 w 413"/>
              <a:gd name="T9" fmla="*/ 135 h 283"/>
              <a:gd name="T10" fmla="*/ 66 w 413"/>
              <a:gd name="T11" fmla="*/ 107 h 283"/>
              <a:gd name="T12" fmla="*/ 173 w 413"/>
              <a:gd name="T13" fmla="*/ 0 h 283"/>
              <a:gd name="T14" fmla="*/ 273 w 413"/>
              <a:gd name="T15" fmla="*/ 69 h 283"/>
              <a:gd name="T16" fmla="*/ 273 w 413"/>
              <a:gd name="T17" fmla="*/ 69 h 283"/>
              <a:gd name="T18" fmla="*/ 346 w 413"/>
              <a:gd name="T19" fmla="*/ 135 h 283"/>
              <a:gd name="T20" fmla="*/ 413 w 413"/>
              <a:gd name="T21" fmla="*/ 209 h 283"/>
              <a:gd name="T22" fmla="*/ 341 w 413"/>
              <a:gd name="T23" fmla="*/ 283 h 283"/>
              <a:gd name="T24" fmla="*/ 340 w 413"/>
              <a:gd name="T25" fmla="*/ 283 h 283"/>
              <a:gd name="T26" fmla="*/ 73 w 413"/>
              <a:gd name="T27" fmla="*/ 268 h 283"/>
              <a:gd name="T28" fmla="*/ 339 w 413"/>
              <a:gd name="T29" fmla="*/ 268 h 283"/>
              <a:gd name="T30" fmla="*/ 340 w 413"/>
              <a:gd name="T31" fmla="*/ 268 h 283"/>
              <a:gd name="T32" fmla="*/ 398 w 413"/>
              <a:gd name="T33" fmla="*/ 209 h 283"/>
              <a:gd name="T34" fmla="*/ 339 w 413"/>
              <a:gd name="T35" fmla="*/ 150 h 283"/>
              <a:gd name="T36" fmla="*/ 332 w 413"/>
              <a:gd name="T37" fmla="*/ 142 h 283"/>
              <a:gd name="T38" fmla="*/ 273 w 413"/>
              <a:gd name="T39" fmla="*/ 83 h 283"/>
              <a:gd name="T40" fmla="*/ 268 w 413"/>
              <a:gd name="T41" fmla="*/ 84 h 283"/>
              <a:gd name="T42" fmla="*/ 261 w 413"/>
              <a:gd name="T43" fmla="*/ 79 h 283"/>
              <a:gd name="T44" fmla="*/ 173 w 413"/>
              <a:gd name="T45" fmla="*/ 15 h 283"/>
              <a:gd name="T46" fmla="*/ 81 w 413"/>
              <a:gd name="T47" fmla="*/ 107 h 283"/>
              <a:gd name="T48" fmla="*/ 87 w 413"/>
              <a:gd name="T49" fmla="*/ 140 h 283"/>
              <a:gd name="T50" fmla="*/ 86 w 413"/>
              <a:gd name="T51" fmla="*/ 147 h 283"/>
              <a:gd name="T52" fmla="*/ 79 w 413"/>
              <a:gd name="T53" fmla="*/ 150 h 283"/>
              <a:gd name="T54" fmla="*/ 73 w 413"/>
              <a:gd name="T55" fmla="*/ 150 h 283"/>
              <a:gd name="T56" fmla="*/ 14 w 413"/>
              <a:gd name="T57" fmla="*/ 209 h 283"/>
              <a:gd name="T58" fmla="*/ 73 w 413"/>
              <a:gd name="T59" fmla="*/ 268 h 283"/>
              <a:gd name="T60" fmla="*/ 73 w 413"/>
              <a:gd name="T61" fmla="*/ 268 h 2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13" h="283">
                <a:moveTo>
                  <a:pt x="340" y="283"/>
                </a:moveTo>
                <a:cubicBezTo>
                  <a:pt x="73" y="283"/>
                  <a:pt x="73" y="283"/>
                  <a:pt x="73" y="283"/>
                </a:cubicBezTo>
                <a:cubicBezTo>
                  <a:pt x="73" y="283"/>
                  <a:pt x="72" y="283"/>
                  <a:pt x="72" y="283"/>
                </a:cubicBezTo>
                <a:cubicBezTo>
                  <a:pt x="32" y="282"/>
                  <a:pt x="0" y="249"/>
                  <a:pt x="0" y="209"/>
                </a:cubicBezTo>
                <a:cubicBezTo>
                  <a:pt x="0" y="169"/>
                  <a:pt x="31" y="137"/>
                  <a:pt x="70" y="135"/>
                </a:cubicBezTo>
                <a:cubicBezTo>
                  <a:pt x="67" y="126"/>
                  <a:pt x="66" y="117"/>
                  <a:pt x="66" y="107"/>
                </a:cubicBezTo>
                <a:cubicBezTo>
                  <a:pt x="66" y="48"/>
                  <a:pt x="114" y="0"/>
                  <a:pt x="173" y="0"/>
                </a:cubicBezTo>
                <a:cubicBezTo>
                  <a:pt x="217" y="0"/>
                  <a:pt x="257" y="27"/>
                  <a:pt x="273" y="69"/>
                </a:cubicBezTo>
                <a:cubicBezTo>
                  <a:pt x="273" y="69"/>
                  <a:pt x="273" y="69"/>
                  <a:pt x="273" y="69"/>
                </a:cubicBezTo>
                <a:cubicBezTo>
                  <a:pt x="311" y="69"/>
                  <a:pt x="343" y="98"/>
                  <a:pt x="346" y="135"/>
                </a:cubicBezTo>
                <a:cubicBezTo>
                  <a:pt x="384" y="139"/>
                  <a:pt x="413" y="171"/>
                  <a:pt x="413" y="209"/>
                </a:cubicBezTo>
                <a:cubicBezTo>
                  <a:pt x="413" y="249"/>
                  <a:pt x="381" y="282"/>
                  <a:pt x="341" y="283"/>
                </a:cubicBezTo>
                <a:cubicBezTo>
                  <a:pt x="340" y="283"/>
                  <a:pt x="340" y="283"/>
                  <a:pt x="340" y="283"/>
                </a:cubicBezTo>
                <a:close/>
                <a:moveTo>
                  <a:pt x="73" y="268"/>
                </a:moveTo>
                <a:cubicBezTo>
                  <a:pt x="339" y="268"/>
                  <a:pt x="339" y="268"/>
                  <a:pt x="339" y="268"/>
                </a:cubicBezTo>
                <a:cubicBezTo>
                  <a:pt x="339" y="268"/>
                  <a:pt x="340" y="268"/>
                  <a:pt x="340" y="268"/>
                </a:cubicBezTo>
                <a:cubicBezTo>
                  <a:pt x="372" y="268"/>
                  <a:pt x="398" y="241"/>
                  <a:pt x="398" y="209"/>
                </a:cubicBezTo>
                <a:cubicBezTo>
                  <a:pt x="398" y="176"/>
                  <a:pt x="372" y="150"/>
                  <a:pt x="339" y="150"/>
                </a:cubicBezTo>
                <a:cubicBezTo>
                  <a:pt x="335" y="150"/>
                  <a:pt x="332" y="146"/>
                  <a:pt x="332" y="142"/>
                </a:cubicBezTo>
                <a:cubicBezTo>
                  <a:pt x="332" y="110"/>
                  <a:pt x="305" y="83"/>
                  <a:pt x="273" y="83"/>
                </a:cubicBezTo>
                <a:cubicBezTo>
                  <a:pt x="271" y="83"/>
                  <a:pt x="270" y="83"/>
                  <a:pt x="268" y="84"/>
                </a:cubicBezTo>
                <a:cubicBezTo>
                  <a:pt x="265" y="84"/>
                  <a:pt x="262" y="82"/>
                  <a:pt x="261" y="79"/>
                </a:cubicBezTo>
                <a:cubicBezTo>
                  <a:pt x="248" y="40"/>
                  <a:pt x="213" y="15"/>
                  <a:pt x="173" y="15"/>
                </a:cubicBezTo>
                <a:cubicBezTo>
                  <a:pt x="122" y="15"/>
                  <a:pt x="81" y="56"/>
                  <a:pt x="81" y="107"/>
                </a:cubicBezTo>
                <a:cubicBezTo>
                  <a:pt x="81" y="118"/>
                  <a:pt x="83" y="129"/>
                  <a:pt x="87" y="140"/>
                </a:cubicBezTo>
                <a:cubicBezTo>
                  <a:pt x="88" y="142"/>
                  <a:pt x="87" y="145"/>
                  <a:pt x="86" y="147"/>
                </a:cubicBezTo>
                <a:cubicBezTo>
                  <a:pt x="84" y="149"/>
                  <a:pt x="82" y="150"/>
                  <a:pt x="79" y="150"/>
                </a:cubicBezTo>
                <a:cubicBezTo>
                  <a:pt x="77" y="150"/>
                  <a:pt x="75" y="150"/>
                  <a:pt x="73" y="150"/>
                </a:cubicBezTo>
                <a:cubicBezTo>
                  <a:pt x="41" y="150"/>
                  <a:pt x="14" y="176"/>
                  <a:pt x="14" y="209"/>
                </a:cubicBezTo>
                <a:cubicBezTo>
                  <a:pt x="14" y="241"/>
                  <a:pt x="41" y="268"/>
                  <a:pt x="73" y="268"/>
                </a:cubicBezTo>
                <a:cubicBezTo>
                  <a:pt x="73" y="268"/>
                  <a:pt x="73" y="268"/>
                  <a:pt x="73" y="26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/>
          <a:lstStyle/>
          <a:p>
            <a:endParaRPr lang="en-US"/>
          </a:p>
        </p:txBody>
      </p:sp>
      <p:sp>
        <p:nvSpPr>
          <p:cNvPr id="3878" name="Freeform 83"/>
          <p:cNvSpPr>
            <a:spLocks noEditPoints="1"/>
          </p:cNvSpPr>
          <p:nvPr/>
        </p:nvSpPr>
        <p:spPr bwMode="auto">
          <a:xfrm>
            <a:off x="8606138" y="4203252"/>
            <a:ext cx="487109" cy="378598"/>
          </a:xfrm>
          <a:custGeom>
            <a:avLst/>
            <a:gdLst>
              <a:gd name="T0" fmla="*/ 339 w 413"/>
              <a:gd name="T1" fmla="*/ 41 h 321"/>
              <a:gd name="T2" fmla="*/ 280 w 413"/>
              <a:gd name="T3" fmla="*/ 41 h 321"/>
              <a:gd name="T4" fmla="*/ 280 w 413"/>
              <a:gd name="T5" fmla="*/ 8 h 321"/>
              <a:gd name="T6" fmla="*/ 273 w 413"/>
              <a:gd name="T7" fmla="*/ 0 h 321"/>
              <a:gd name="T8" fmla="*/ 140 w 413"/>
              <a:gd name="T9" fmla="*/ 0 h 321"/>
              <a:gd name="T10" fmla="*/ 132 w 413"/>
              <a:gd name="T11" fmla="*/ 8 h 321"/>
              <a:gd name="T12" fmla="*/ 132 w 413"/>
              <a:gd name="T13" fmla="*/ 41 h 321"/>
              <a:gd name="T14" fmla="*/ 73 w 413"/>
              <a:gd name="T15" fmla="*/ 41 h 321"/>
              <a:gd name="T16" fmla="*/ 0 w 413"/>
              <a:gd name="T17" fmla="*/ 115 h 321"/>
              <a:gd name="T18" fmla="*/ 0 w 413"/>
              <a:gd name="T19" fmla="*/ 247 h 321"/>
              <a:gd name="T20" fmla="*/ 73 w 413"/>
              <a:gd name="T21" fmla="*/ 321 h 321"/>
              <a:gd name="T22" fmla="*/ 339 w 413"/>
              <a:gd name="T23" fmla="*/ 321 h 321"/>
              <a:gd name="T24" fmla="*/ 413 w 413"/>
              <a:gd name="T25" fmla="*/ 247 h 321"/>
              <a:gd name="T26" fmla="*/ 413 w 413"/>
              <a:gd name="T27" fmla="*/ 115 h 321"/>
              <a:gd name="T28" fmla="*/ 339 w 413"/>
              <a:gd name="T29" fmla="*/ 41 h 321"/>
              <a:gd name="T30" fmla="*/ 81 w 413"/>
              <a:gd name="T31" fmla="*/ 56 h 321"/>
              <a:gd name="T32" fmla="*/ 332 w 413"/>
              <a:gd name="T33" fmla="*/ 56 h 321"/>
              <a:gd name="T34" fmla="*/ 332 w 413"/>
              <a:gd name="T35" fmla="*/ 306 h 321"/>
              <a:gd name="T36" fmla="*/ 81 w 413"/>
              <a:gd name="T37" fmla="*/ 306 h 321"/>
              <a:gd name="T38" fmla="*/ 81 w 413"/>
              <a:gd name="T39" fmla="*/ 56 h 321"/>
              <a:gd name="T40" fmla="*/ 147 w 413"/>
              <a:gd name="T41" fmla="*/ 15 h 321"/>
              <a:gd name="T42" fmla="*/ 265 w 413"/>
              <a:gd name="T43" fmla="*/ 15 h 321"/>
              <a:gd name="T44" fmla="*/ 265 w 413"/>
              <a:gd name="T45" fmla="*/ 41 h 321"/>
              <a:gd name="T46" fmla="*/ 147 w 413"/>
              <a:gd name="T47" fmla="*/ 41 h 321"/>
              <a:gd name="T48" fmla="*/ 147 w 413"/>
              <a:gd name="T49" fmla="*/ 15 h 321"/>
              <a:gd name="T50" fmla="*/ 14 w 413"/>
              <a:gd name="T51" fmla="*/ 247 h 321"/>
              <a:gd name="T52" fmla="*/ 14 w 413"/>
              <a:gd name="T53" fmla="*/ 115 h 321"/>
              <a:gd name="T54" fmla="*/ 66 w 413"/>
              <a:gd name="T55" fmla="*/ 56 h 321"/>
              <a:gd name="T56" fmla="*/ 66 w 413"/>
              <a:gd name="T57" fmla="*/ 305 h 321"/>
              <a:gd name="T58" fmla="*/ 14 w 413"/>
              <a:gd name="T59" fmla="*/ 247 h 321"/>
              <a:gd name="T60" fmla="*/ 398 w 413"/>
              <a:gd name="T61" fmla="*/ 247 h 321"/>
              <a:gd name="T62" fmla="*/ 347 w 413"/>
              <a:gd name="T63" fmla="*/ 305 h 321"/>
              <a:gd name="T64" fmla="*/ 347 w 413"/>
              <a:gd name="T65" fmla="*/ 56 h 321"/>
              <a:gd name="T66" fmla="*/ 398 w 413"/>
              <a:gd name="T67" fmla="*/ 115 h 321"/>
              <a:gd name="T68" fmla="*/ 398 w 413"/>
              <a:gd name="T69" fmla="*/ 247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13" h="321">
                <a:moveTo>
                  <a:pt x="339" y="41"/>
                </a:moveTo>
                <a:cubicBezTo>
                  <a:pt x="280" y="41"/>
                  <a:pt x="280" y="41"/>
                  <a:pt x="280" y="41"/>
                </a:cubicBezTo>
                <a:cubicBezTo>
                  <a:pt x="280" y="8"/>
                  <a:pt x="280" y="8"/>
                  <a:pt x="280" y="8"/>
                </a:cubicBezTo>
                <a:cubicBezTo>
                  <a:pt x="280" y="4"/>
                  <a:pt x="277" y="0"/>
                  <a:pt x="273" y="0"/>
                </a:cubicBezTo>
                <a:cubicBezTo>
                  <a:pt x="140" y="0"/>
                  <a:pt x="140" y="0"/>
                  <a:pt x="140" y="0"/>
                </a:cubicBezTo>
                <a:cubicBezTo>
                  <a:pt x="136" y="0"/>
                  <a:pt x="132" y="4"/>
                  <a:pt x="132" y="8"/>
                </a:cubicBezTo>
                <a:cubicBezTo>
                  <a:pt x="132" y="41"/>
                  <a:pt x="132" y="41"/>
                  <a:pt x="132" y="41"/>
                </a:cubicBezTo>
                <a:cubicBezTo>
                  <a:pt x="73" y="41"/>
                  <a:pt x="73" y="41"/>
                  <a:pt x="73" y="41"/>
                </a:cubicBezTo>
                <a:cubicBezTo>
                  <a:pt x="33" y="41"/>
                  <a:pt x="0" y="74"/>
                  <a:pt x="0" y="115"/>
                </a:cubicBezTo>
                <a:cubicBezTo>
                  <a:pt x="0" y="247"/>
                  <a:pt x="0" y="247"/>
                  <a:pt x="0" y="247"/>
                </a:cubicBezTo>
                <a:cubicBezTo>
                  <a:pt x="0" y="288"/>
                  <a:pt x="33" y="321"/>
                  <a:pt x="73" y="321"/>
                </a:cubicBezTo>
                <a:cubicBezTo>
                  <a:pt x="339" y="321"/>
                  <a:pt x="339" y="321"/>
                  <a:pt x="339" y="321"/>
                </a:cubicBezTo>
                <a:cubicBezTo>
                  <a:pt x="380" y="321"/>
                  <a:pt x="413" y="288"/>
                  <a:pt x="413" y="247"/>
                </a:cubicBezTo>
                <a:cubicBezTo>
                  <a:pt x="413" y="115"/>
                  <a:pt x="413" y="115"/>
                  <a:pt x="413" y="115"/>
                </a:cubicBezTo>
                <a:cubicBezTo>
                  <a:pt x="413" y="74"/>
                  <a:pt x="380" y="41"/>
                  <a:pt x="339" y="41"/>
                </a:cubicBezTo>
                <a:close/>
                <a:moveTo>
                  <a:pt x="81" y="56"/>
                </a:moveTo>
                <a:cubicBezTo>
                  <a:pt x="332" y="56"/>
                  <a:pt x="332" y="56"/>
                  <a:pt x="332" y="56"/>
                </a:cubicBezTo>
                <a:cubicBezTo>
                  <a:pt x="332" y="306"/>
                  <a:pt x="332" y="306"/>
                  <a:pt x="332" y="306"/>
                </a:cubicBezTo>
                <a:cubicBezTo>
                  <a:pt x="81" y="306"/>
                  <a:pt x="81" y="306"/>
                  <a:pt x="81" y="306"/>
                </a:cubicBezTo>
                <a:lnTo>
                  <a:pt x="81" y="56"/>
                </a:lnTo>
                <a:close/>
                <a:moveTo>
                  <a:pt x="147" y="15"/>
                </a:moveTo>
                <a:cubicBezTo>
                  <a:pt x="265" y="15"/>
                  <a:pt x="265" y="15"/>
                  <a:pt x="265" y="15"/>
                </a:cubicBezTo>
                <a:cubicBezTo>
                  <a:pt x="265" y="41"/>
                  <a:pt x="265" y="41"/>
                  <a:pt x="265" y="41"/>
                </a:cubicBezTo>
                <a:cubicBezTo>
                  <a:pt x="147" y="41"/>
                  <a:pt x="147" y="41"/>
                  <a:pt x="147" y="41"/>
                </a:cubicBezTo>
                <a:lnTo>
                  <a:pt x="147" y="15"/>
                </a:lnTo>
                <a:close/>
                <a:moveTo>
                  <a:pt x="14" y="247"/>
                </a:moveTo>
                <a:cubicBezTo>
                  <a:pt x="14" y="115"/>
                  <a:pt x="14" y="115"/>
                  <a:pt x="14" y="115"/>
                </a:cubicBezTo>
                <a:cubicBezTo>
                  <a:pt x="14" y="85"/>
                  <a:pt x="37" y="60"/>
                  <a:pt x="66" y="56"/>
                </a:cubicBezTo>
                <a:cubicBezTo>
                  <a:pt x="66" y="305"/>
                  <a:pt x="66" y="305"/>
                  <a:pt x="66" y="305"/>
                </a:cubicBezTo>
                <a:cubicBezTo>
                  <a:pt x="37" y="302"/>
                  <a:pt x="14" y="277"/>
                  <a:pt x="14" y="247"/>
                </a:cubicBezTo>
                <a:close/>
                <a:moveTo>
                  <a:pt x="398" y="247"/>
                </a:moveTo>
                <a:cubicBezTo>
                  <a:pt x="398" y="277"/>
                  <a:pt x="376" y="302"/>
                  <a:pt x="347" y="305"/>
                </a:cubicBezTo>
                <a:cubicBezTo>
                  <a:pt x="347" y="56"/>
                  <a:pt x="347" y="56"/>
                  <a:pt x="347" y="56"/>
                </a:cubicBezTo>
                <a:cubicBezTo>
                  <a:pt x="376" y="60"/>
                  <a:pt x="398" y="85"/>
                  <a:pt x="398" y="115"/>
                </a:cubicBezTo>
                <a:lnTo>
                  <a:pt x="398" y="2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/>
          <a:lstStyle/>
          <a:p>
            <a:endParaRPr lang="en-US"/>
          </a:p>
        </p:txBody>
      </p:sp>
      <p:grpSp>
        <p:nvGrpSpPr>
          <p:cNvPr id="56" name="组合 55"/>
          <p:cNvGrpSpPr/>
          <p:nvPr/>
        </p:nvGrpSpPr>
        <p:grpSpPr>
          <a:xfrm>
            <a:off x="2114404" y="2091503"/>
            <a:ext cx="1916041" cy="1080798"/>
            <a:chOff x="2114404" y="2091503"/>
            <a:chExt cx="1916041" cy="1080798"/>
          </a:xfrm>
        </p:grpSpPr>
        <p:sp>
          <p:nvSpPr>
            <p:cNvPr id="1387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  <a:endPara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5" name="矩形 54"/>
            <p:cNvSpPr/>
            <p:nvPr/>
          </p:nvSpPr>
          <p:spPr>
            <a:xfrm>
              <a:off x="2123641" y="2091503"/>
              <a:ext cx="190680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dirty="0" smtClean="0"/>
                <a:t>Single Line Display</a:t>
              </a:r>
              <a:endParaRPr lang="en-US" altLang="zh-CN" dirty="0"/>
            </a:p>
          </p:txBody>
        </p:sp>
      </p:grpSp>
      <p:grpSp>
        <p:nvGrpSpPr>
          <p:cNvPr id="3879" name="组合 3878"/>
          <p:cNvGrpSpPr/>
          <p:nvPr/>
        </p:nvGrpSpPr>
        <p:grpSpPr>
          <a:xfrm>
            <a:off x="2088089" y="3812681"/>
            <a:ext cx="1937970" cy="1080798"/>
            <a:chOff x="2114404" y="2091503"/>
            <a:chExt cx="1937970" cy="1080798"/>
          </a:xfrm>
        </p:grpSpPr>
        <p:sp>
          <p:nvSpPr>
            <p:cNvPr id="3880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  <a:endPara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881" name="矩形 3880"/>
            <p:cNvSpPr/>
            <p:nvPr/>
          </p:nvSpPr>
          <p:spPr>
            <a:xfrm>
              <a:off x="2123641" y="2091503"/>
              <a:ext cx="192873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dirty="0" smtClean="0"/>
                <a:t>Embedded Small 3</a:t>
              </a:r>
              <a:endParaRPr lang="en-US" altLang="zh-CN" dirty="0" smtClean="0"/>
            </a:p>
          </p:txBody>
        </p:sp>
      </p:grpSp>
      <p:grpSp>
        <p:nvGrpSpPr>
          <p:cNvPr id="3885" name="组合 3884"/>
          <p:cNvGrpSpPr/>
          <p:nvPr/>
        </p:nvGrpSpPr>
        <p:grpSpPr>
          <a:xfrm>
            <a:off x="5806788" y="2088508"/>
            <a:ext cx="1423332" cy="1080798"/>
            <a:chOff x="2114404" y="2091503"/>
            <a:chExt cx="1423332" cy="1080798"/>
          </a:xfrm>
        </p:grpSpPr>
        <p:sp>
          <p:nvSpPr>
            <p:cNvPr id="3886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  <a:endPara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887" name="矩形 3886"/>
            <p:cNvSpPr/>
            <p:nvPr/>
          </p:nvSpPr>
          <p:spPr>
            <a:xfrm>
              <a:off x="2123641" y="2091503"/>
              <a:ext cx="108356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765">
                <a:defRPr/>
              </a:pPr>
              <a:r>
                <a:rPr lang="en-US" altLang="zh-CN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Wearable</a:t>
              </a:r>
              <a:endParaRPr lang="en-US" altLang="zh-CN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3888" name="组合 3887"/>
          <p:cNvGrpSpPr/>
          <p:nvPr/>
        </p:nvGrpSpPr>
        <p:grpSpPr>
          <a:xfrm>
            <a:off x="5780473" y="3809686"/>
            <a:ext cx="2132867" cy="1080798"/>
            <a:chOff x="2114404" y="2091503"/>
            <a:chExt cx="2132867" cy="1080798"/>
          </a:xfrm>
        </p:grpSpPr>
        <p:sp>
          <p:nvSpPr>
            <p:cNvPr id="3889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  <a:endPara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890" name="矩形 3889"/>
            <p:cNvSpPr/>
            <p:nvPr/>
          </p:nvSpPr>
          <p:spPr>
            <a:xfrm>
              <a:off x="2123640" y="2091503"/>
              <a:ext cx="212363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765">
                <a:defRPr/>
              </a:pPr>
              <a:r>
                <a:rPr lang="en-US" altLang="zh-CN" dirty="0" err="1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AdvertisingDisplay</a:t>
              </a:r>
              <a:endParaRPr lang="en-US" altLang="zh-CN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3891" name="组合 3890"/>
          <p:cNvGrpSpPr/>
          <p:nvPr/>
        </p:nvGrpSpPr>
        <p:grpSpPr>
          <a:xfrm>
            <a:off x="9536585" y="2081043"/>
            <a:ext cx="1490605" cy="1080798"/>
            <a:chOff x="2114404" y="2091503"/>
            <a:chExt cx="1490605" cy="1080798"/>
          </a:xfrm>
        </p:grpSpPr>
        <p:sp>
          <p:nvSpPr>
            <p:cNvPr id="3892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  <a:endPara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893" name="矩形 3892"/>
            <p:cNvSpPr/>
            <p:nvPr/>
          </p:nvSpPr>
          <p:spPr>
            <a:xfrm>
              <a:off x="2123641" y="2091503"/>
              <a:ext cx="148136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765"/>
              <a:r>
                <a:rPr lang="en-US" altLang="zh-CN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Storage Types</a:t>
              </a:r>
              <a:endParaRPr lang="en-US" altLang="zh-CN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3894" name="组合 3893"/>
          <p:cNvGrpSpPr/>
          <p:nvPr/>
        </p:nvGrpSpPr>
        <p:grpSpPr>
          <a:xfrm>
            <a:off x="9510270" y="3802221"/>
            <a:ext cx="1620832" cy="1080798"/>
            <a:chOff x="2114404" y="2091503"/>
            <a:chExt cx="1620832" cy="1080798"/>
          </a:xfrm>
        </p:grpSpPr>
        <p:sp>
          <p:nvSpPr>
            <p:cNvPr id="3895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  <a:endPara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3896" name="矩形 3895"/>
            <p:cNvSpPr/>
            <p:nvPr/>
          </p:nvSpPr>
          <p:spPr>
            <a:xfrm>
              <a:off x="2123641" y="2091503"/>
              <a:ext cx="16115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765">
                <a:defRPr/>
              </a:pPr>
              <a:r>
                <a:rPr lang="en-US" altLang="zh-CN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evice Tailored</a:t>
              </a:r>
              <a:endParaRPr lang="en-US" altLang="zh-CN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3897" name="组合 3896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3898" name="组合 3897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3905" name="矩形 3904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6" name="文本框 3905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3907" name="文本框 3906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3908" name="直接连接符 3907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09" name="椭圆 3908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10" name="文本框 3909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899" name="组合 389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3903" name="六边形 390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3900" name="组合 389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3901" name="六边形 390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6321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7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7" name="饼形 6"/>
          <p:cNvSpPr/>
          <p:nvPr/>
        </p:nvSpPr>
        <p:spPr>
          <a:xfrm>
            <a:off x="1831896" y="2261517"/>
            <a:ext cx="2328432" cy="2328432"/>
          </a:xfrm>
          <a:prstGeom prst="pie">
            <a:avLst>
              <a:gd name="adj1" fmla="val 4938252"/>
              <a:gd name="adj2" fmla="val 15598490"/>
            </a:avLst>
          </a:prstGeom>
          <a:solidFill>
            <a:srgbClr val="EE3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0" name="饼形 119"/>
          <p:cNvSpPr/>
          <p:nvPr/>
        </p:nvSpPr>
        <p:spPr>
          <a:xfrm>
            <a:off x="1730739" y="2234175"/>
            <a:ext cx="2530481" cy="2530481"/>
          </a:xfrm>
          <a:prstGeom prst="pie">
            <a:avLst>
              <a:gd name="adj1" fmla="val 475446"/>
              <a:gd name="adj2" fmla="val 501387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1" name="饼形 120"/>
          <p:cNvSpPr/>
          <p:nvPr/>
        </p:nvSpPr>
        <p:spPr>
          <a:xfrm rot="17462744">
            <a:off x="1462203" y="1806433"/>
            <a:ext cx="3415685" cy="3415685"/>
          </a:xfrm>
          <a:prstGeom prst="pie">
            <a:avLst>
              <a:gd name="adj1" fmla="val 1023071"/>
              <a:gd name="adj2" fmla="val 466496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2" name="饼形 121"/>
          <p:cNvSpPr/>
          <p:nvPr/>
        </p:nvSpPr>
        <p:spPr>
          <a:xfrm rot="17462744">
            <a:off x="1591034" y="2135014"/>
            <a:ext cx="2952792" cy="2952792"/>
          </a:xfrm>
          <a:prstGeom prst="pie">
            <a:avLst>
              <a:gd name="adj1" fmla="val 19625554"/>
              <a:gd name="adj2" fmla="val 116497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cxnSp>
        <p:nvCxnSpPr>
          <p:cNvPr id="123" name="直接连接符 122"/>
          <p:cNvCxnSpPr/>
          <p:nvPr/>
        </p:nvCxnSpPr>
        <p:spPr>
          <a:xfrm>
            <a:off x="4572413" y="3478512"/>
            <a:ext cx="4292553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椭圆 123"/>
          <p:cNvSpPr/>
          <p:nvPr/>
        </p:nvSpPr>
        <p:spPr>
          <a:xfrm>
            <a:off x="8793746" y="3359242"/>
            <a:ext cx="238540" cy="23854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86" name="TextBox 58"/>
          <p:cNvSpPr txBox="1"/>
          <p:nvPr/>
        </p:nvSpPr>
        <p:spPr>
          <a:xfrm>
            <a:off x="4949419" y="3097784"/>
            <a:ext cx="4492133" cy="3385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achine-based algorithms and data analysi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6" name="椭圆 125"/>
          <p:cNvSpPr/>
          <p:nvPr/>
        </p:nvSpPr>
        <p:spPr>
          <a:xfrm>
            <a:off x="5473949" y="3753973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7" name="椭圆 126"/>
          <p:cNvSpPr/>
          <p:nvPr/>
        </p:nvSpPr>
        <p:spPr>
          <a:xfrm>
            <a:off x="5473949" y="4179519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8" name="椭圆 127"/>
          <p:cNvSpPr/>
          <p:nvPr/>
        </p:nvSpPr>
        <p:spPr>
          <a:xfrm>
            <a:off x="5473949" y="4605065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9" name="椭圆 128"/>
          <p:cNvSpPr/>
          <p:nvPr/>
        </p:nvSpPr>
        <p:spPr>
          <a:xfrm>
            <a:off x="5473949" y="5030611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0" name="椭圆 129"/>
          <p:cNvSpPr/>
          <p:nvPr/>
        </p:nvSpPr>
        <p:spPr>
          <a:xfrm>
            <a:off x="5473949" y="5456155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2256784" y="2662847"/>
            <a:ext cx="1496447" cy="149644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矩形 56"/>
          <p:cNvSpPr/>
          <p:nvPr/>
        </p:nvSpPr>
        <p:spPr>
          <a:xfrm>
            <a:off x="5601388" y="3667542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 smtClean="0">
                <a:solidFill>
                  <a:schemeClr val="bg1"/>
                </a:solidFill>
                <a:latin typeface="Segoe UI" panose="020B0502040204020203"/>
              </a:rPr>
              <a:t>Services are designed with a “Cloud First” mindset with a failsafe implementation</a:t>
            </a:r>
            <a:endParaRPr lang="en-US" altLang="zh-CN" sz="1100" dirty="0" smtClean="0">
              <a:solidFill>
                <a:schemeClr val="bg1"/>
              </a:solidFill>
              <a:latin typeface="Segoe UI" panose="020B0502040204020203"/>
            </a:endParaRPr>
          </a:p>
        </p:txBody>
      </p:sp>
      <p:sp>
        <p:nvSpPr>
          <p:cNvPr id="58" name="矩形 57"/>
          <p:cNvSpPr/>
          <p:nvPr/>
        </p:nvSpPr>
        <p:spPr>
          <a:xfrm>
            <a:off x="5599605" y="4103947"/>
            <a:ext cx="306526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 err="1" smtClean="0">
                <a:solidFill>
                  <a:schemeClr val="bg1"/>
                </a:solidFill>
                <a:latin typeface="Segoe UI" panose="020B0502040204020203"/>
              </a:rPr>
              <a:t>RESTful</a:t>
            </a:r>
            <a:r>
              <a:rPr lang="en-US" altLang="zh-CN" sz="1100" dirty="0" smtClean="0">
                <a:solidFill>
                  <a:schemeClr val="bg1"/>
                </a:solidFill>
                <a:latin typeface="Segoe UI" panose="020B0502040204020203"/>
              </a:rPr>
              <a:t> APIs are designed using best practices</a:t>
            </a:r>
            <a:endParaRPr lang="en-US" altLang="zh-CN" sz="1100" dirty="0">
              <a:solidFill>
                <a:schemeClr val="bg1"/>
              </a:solidFill>
              <a:latin typeface="Segoe UI" panose="020B0502040204020203"/>
            </a:endParaRPr>
          </a:p>
        </p:txBody>
      </p:sp>
      <p:sp>
        <p:nvSpPr>
          <p:cNvPr id="3840" name="矩形 3839"/>
          <p:cNvSpPr/>
          <p:nvPr/>
        </p:nvSpPr>
        <p:spPr>
          <a:xfrm>
            <a:off x="5601388" y="4523977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smtClean="0">
                <a:solidFill>
                  <a:schemeClr val="bg1"/>
                </a:solidFill>
                <a:latin typeface="Segoe UI" panose="020B0502040204020203"/>
              </a:rPr>
              <a:t>Services default to delivering data using a standard protocol (OData)</a:t>
            </a:r>
            <a:endParaRPr lang="en-US" altLang="zh-CN" sz="1100" dirty="0">
              <a:solidFill>
                <a:schemeClr val="bg1"/>
              </a:solidFill>
              <a:latin typeface="Segoe UI" panose="020B0502040204020203"/>
            </a:endParaRPr>
          </a:p>
        </p:txBody>
      </p:sp>
      <p:sp>
        <p:nvSpPr>
          <p:cNvPr id="3841" name="矩形 3840"/>
          <p:cNvSpPr/>
          <p:nvPr/>
        </p:nvSpPr>
        <p:spPr>
          <a:xfrm>
            <a:off x="5601388" y="4934831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smtClean="0">
                <a:solidFill>
                  <a:schemeClr val="bg1"/>
                </a:solidFill>
                <a:latin typeface="Segoe UI" panose="020B0502040204020203"/>
              </a:rPr>
              <a:t>People-centric or social-enabled services utilize open protocols (Open Graph)</a:t>
            </a:r>
            <a:endParaRPr lang="en-US" altLang="zh-CN" sz="1100" dirty="0">
              <a:solidFill>
                <a:schemeClr val="bg1"/>
              </a:solidFill>
              <a:latin typeface="Segoe UI" panose="020B0502040204020203"/>
            </a:endParaRPr>
          </a:p>
        </p:txBody>
      </p:sp>
      <p:sp>
        <p:nvSpPr>
          <p:cNvPr id="3842" name="矩形 3841"/>
          <p:cNvSpPr/>
          <p:nvPr/>
        </p:nvSpPr>
        <p:spPr>
          <a:xfrm>
            <a:off x="5615489" y="5389923"/>
            <a:ext cx="317907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 smtClean="0">
                <a:solidFill>
                  <a:schemeClr val="bg1"/>
                </a:solidFill>
                <a:latin typeface="Segoe UI" panose="020B0502040204020203"/>
              </a:rPr>
              <a:t>Services are data-centric and/or insight-enabled</a:t>
            </a:r>
            <a:endParaRPr lang="en-US" altLang="zh-CN" sz="1100" dirty="0">
              <a:solidFill>
                <a:schemeClr val="bg1"/>
              </a:solidFill>
              <a:latin typeface="Segoe UI" panose="020B0502040204020203"/>
            </a:endParaRPr>
          </a:p>
        </p:txBody>
      </p:sp>
      <p:sp>
        <p:nvSpPr>
          <p:cNvPr id="137" name="Freeform 7"/>
          <p:cNvSpPr>
            <a:spLocks noChangeAspect="1" noEditPoints="1"/>
          </p:cNvSpPr>
          <p:nvPr/>
        </p:nvSpPr>
        <p:spPr bwMode="black">
          <a:xfrm>
            <a:off x="2490279" y="2941040"/>
            <a:ext cx="1029456" cy="910133"/>
          </a:xfrm>
          <a:custGeom>
            <a:avLst/>
            <a:gdLst>
              <a:gd name="T0" fmla="*/ 87 w 162"/>
              <a:gd name="T1" fmla="*/ 109 h 143"/>
              <a:gd name="T2" fmla="*/ 74 w 162"/>
              <a:gd name="T3" fmla="*/ 109 h 143"/>
              <a:gd name="T4" fmla="*/ 74 w 162"/>
              <a:gd name="T5" fmla="*/ 79 h 143"/>
              <a:gd name="T6" fmla="*/ 45 w 162"/>
              <a:gd name="T7" fmla="*/ 79 h 143"/>
              <a:gd name="T8" fmla="*/ 45 w 162"/>
              <a:gd name="T9" fmla="*/ 66 h 143"/>
              <a:gd name="T10" fmla="*/ 74 w 162"/>
              <a:gd name="T11" fmla="*/ 66 h 143"/>
              <a:gd name="T12" fmla="*/ 74 w 162"/>
              <a:gd name="T13" fmla="*/ 36 h 143"/>
              <a:gd name="T14" fmla="*/ 87 w 162"/>
              <a:gd name="T15" fmla="*/ 36 h 143"/>
              <a:gd name="T16" fmla="*/ 87 w 162"/>
              <a:gd name="T17" fmla="*/ 66 h 143"/>
              <a:gd name="T18" fmla="*/ 117 w 162"/>
              <a:gd name="T19" fmla="*/ 66 h 143"/>
              <a:gd name="T20" fmla="*/ 117 w 162"/>
              <a:gd name="T21" fmla="*/ 79 h 143"/>
              <a:gd name="T22" fmla="*/ 87 w 162"/>
              <a:gd name="T23" fmla="*/ 79 h 143"/>
              <a:gd name="T24" fmla="*/ 87 w 162"/>
              <a:gd name="T25" fmla="*/ 109 h 143"/>
              <a:gd name="T26" fmla="*/ 124 w 162"/>
              <a:gd name="T27" fmla="*/ 129 h 143"/>
              <a:gd name="T28" fmla="*/ 81 w 162"/>
              <a:gd name="T29" fmla="*/ 143 h 143"/>
              <a:gd name="T30" fmla="*/ 24 w 162"/>
              <a:gd name="T31" fmla="*/ 115 h 143"/>
              <a:gd name="T32" fmla="*/ 37 w 162"/>
              <a:gd name="T33" fmla="*/ 14 h 143"/>
              <a:gd name="T34" fmla="*/ 81 w 162"/>
              <a:gd name="T35" fmla="*/ 0 h 143"/>
              <a:gd name="T36" fmla="*/ 138 w 162"/>
              <a:gd name="T37" fmla="*/ 28 h 143"/>
              <a:gd name="T38" fmla="*/ 124 w 162"/>
              <a:gd name="T39" fmla="*/ 129 h 143"/>
              <a:gd name="T40" fmla="*/ 130 w 162"/>
              <a:gd name="T41" fmla="*/ 34 h 143"/>
              <a:gd name="T42" fmla="*/ 81 w 162"/>
              <a:gd name="T43" fmla="*/ 9 h 143"/>
              <a:gd name="T44" fmla="*/ 43 w 162"/>
              <a:gd name="T45" fmla="*/ 22 h 143"/>
              <a:gd name="T46" fmla="*/ 31 w 162"/>
              <a:gd name="T47" fmla="*/ 109 h 143"/>
              <a:gd name="T48" fmla="*/ 81 w 162"/>
              <a:gd name="T49" fmla="*/ 134 h 143"/>
              <a:gd name="T50" fmla="*/ 119 w 162"/>
              <a:gd name="T51" fmla="*/ 121 h 143"/>
              <a:gd name="T52" fmla="*/ 130 w 162"/>
              <a:gd name="T53" fmla="*/ 34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62" h="143">
                <a:moveTo>
                  <a:pt x="87" y="109"/>
                </a:moveTo>
                <a:cubicBezTo>
                  <a:pt x="74" y="109"/>
                  <a:pt x="74" y="109"/>
                  <a:pt x="74" y="109"/>
                </a:cubicBezTo>
                <a:cubicBezTo>
                  <a:pt x="74" y="79"/>
                  <a:pt x="74" y="79"/>
                  <a:pt x="74" y="79"/>
                </a:cubicBezTo>
                <a:cubicBezTo>
                  <a:pt x="45" y="79"/>
                  <a:pt x="45" y="79"/>
                  <a:pt x="45" y="79"/>
                </a:cubicBezTo>
                <a:cubicBezTo>
                  <a:pt x="45" y="66"/>
                  <a:pt x="45" y="66"/>
                  <a:pt x="45" y="66"/>
                </a:cubicBezTo>
                <a:cubicBezTo>
                  <a:pt x="74" y="66"/>
                  <a:pt x="74" y="66"/>
                  <a:pt x="74" y="66"/>
                </a:cubicBezTo>
                <a:cubicBezTo>
                  <a:pt x="74" y="36"/>
                  <a:pt x="74" y="36"/>
                  <a:pt x="74" y="36"/>
                </a:cubicBezTo>
                <a:cubicBezTo>
                  <a:pt x="87" y="36"/>
                  <a:pt x="87" y="36"/>
                  <a:pt x="87" y="36"/>
                </a:cubicBezTo>
                <a:cubicBezTo>
                  <a:pt x="87" y="66"/>
                  <a:pt x="87" y="66"/>
                  <a:pt x="87" y="66"/>
                </a:cubicBezTo>
                <a:cubicBezTo>
                  <a:pt x="117" y="66"/>
                  <a:pt x="117" y="66"/>
                  <a:pt x="117" y="66"/>
                </a:cubicBezTo>
                <a:cubicBezTo>
                  <a:pt x="117" y="79"/>
                  <a:pt x="117" y="79"/>
                  <a:pt x="117" y="79"/>
                </a:cubicBezTo>
                <a:cubicBezTo>
                  <a:pt x="87" y="79"/>
                  <a:pt x="87" y="79"/>
                  <a:pt x="87" y="79"/>
                </a:cubicBezTo>
                <a:lnTo>
                  <a:pt x="87" y="109"/>
                </a:lnTo>
                <a:close/>
                <a:moveTo>
                  <a:pt x="124" y="129"/>
                </a:moveTo>
                <a:cubicBezTo>
                  <a:pt x="111" y="139"/>
                  <a:pt x="96" y="143"/>
                  <a:pt x="81" y="143"/>
                </a:cubicBezTo>
                <a:cubicBezTo>
                  <a:pt x="59" y="143"/>
                  <a:pt x="38" y="134"/>
                  <a:pt x="24" y="115"/>
                </a:cubicBezTo>
                <a:cubicBezTo>
                  <a:pt x="0" y="84"/>
                  <a:pt x="6" y="38"/>
                  <a:pt x="37" y="14"/>
                </a:cubicBezTo>
                <a:cubicBezTo>
                  <a:pt x="50" y="4"/>
                  <a:pt x="66" y="0"/>
                  <a:pt x="81" y="0"/>
                </a:cubicBezTo>
                <a:cubicBezTo>
                  <a:pt x="102" y="0"/>
                  <a:pt x="124" y="9"/>
                  <a:pt x="138" y="28"/>
                </a:cubicBezTo>
                <a:cubicBezTo>
                  <a:pt x="162" y="60"/>
                  <a:pt x="156" y="105"/>
                  <a:pt x="124" y="129"/>
                </a:cubicBezTo>
                <a:close/>
                <a:moveTo>
                  <a:pt x="130" y="34"/>
                </a:moveTo>
                <a:cubicBezTo>
                  <a:pt x="119" y="18"/>
                  <a:pt x="100" y="9"/>
                  <a:pt x="81" y="9"/>
                </a:cubicBezTo>
                <a:cubicBezTo>
                  <a:pt x="67" y="9"/>
                  <a:pt x="54" y="14"/>
                  <a:pt x="43" y="22"/>
                </a:cubicBezTo>
                <a:cubicBezTo>
                  <a:pt x="16" y="43"/>
                  <a:pt x="10" y="82"/>
                  <a:pt x="31" y="109"/>
                </a:cubicBezTo>
                <a:cubicBezTo>
                  <a:pt x="43" y="125"/>
                  <a:pt x="61" y="134"/>
                  <a:pt x="81" y="134"/>
                </a:cubicBezTo>
                <a:cubicBezTo>
                  <a:pt x="95" y="134"/>
                  <a:pt x="108" y="130"/>
                  <a:pt x="119" y="121"/>
                </a:cubicBezTo>
                <a:cubicBezTo>
                  <a:pt x="146" y="100"/>
                  <a:pt x="151" y="61"/>
                  <a:pt x="130" y="34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51415" tIns="25707" rIns="51415" bIns="25707" numCol="1" anchor="t" anchorCtr="0" compatLnSpc="1"/>
          <a:lstStyle/>
          <a:p>
            <a:pPr defTabSz="932180"/>
            <a:endParaRPr lang="en-US" sz="1300" dirty="0">
              <a:solidFill>
                <a:srgbClr val="FFFFFF"/>
              </a:solidFill>
            </a:endParaRPr>
          </a:p>
        </p:txBody>
      </p:sp>
      <p:grpSp>
        <p:nvGrpSpPr>
          <p:cNvPr id="138" name="组合 13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39" name="组合 13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46" name="矩形 14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7" name="文本框 14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48" name="文本框 14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49" name="直接连接符 14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0" name="椭圆 14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1" name="文本框 15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0" name="组合 13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4" name="六边形 14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41" name="组合 14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2" name="六边形 14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18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6" name="矩形 135"/>
          <p:cNvSpPr/>
          <p:nvPr/>
        </p:nvSpPr>
        <p:spPr>
          <a:xfrm rot="18945673">
            <a:off x="5196127" y="2093096"/>
            <a:ext cx="1739884" cy="1738800"/>
          </a:xfrm>
          <a:prstGeom prst="rect">
            <a:avLst/>
          </a:prstGeom>
          <a:solidFill>
            <a:srgbClr val="EE35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38" name="组合 137"/>
          <p:cNvGrpSpPr/>
          <p:nvPr/>
        </p:nvGrpSpPr>
        <p:grpSpPr>
          <a:xfrm>
            <a:off x="2626113" y="2120333"/>
            <a:ext cx="1290963" cy="1438727"/>
            <a:chOff x="1190489" y="1328801"/>
            <a:chExt cx="1290963" cy="1438727"/>
          </a:xfrm>
          <a:effectLst/>
        </p:grpSpPr>
        <p:sp>
          <p:nvSpPr>
            <p:cNvPr id="139" name="矩形 138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0" name="矩形 139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1" name="组合 140"/>
          <p:cNvGrpSpPr/>
          <p:nvPr/>
        </p:nvGrpSpPr>
        <p:grpSpPr>
          <a:xfrm>
            <a:off x="3756151" y="2170084"/>
            <a:ext cx="1290963" cy="1438727"/>
            <a:chOff x="1190489" y="1328801"/>
            <a:chExt cx="1290963" cy="1438727"/>
          </a:xfrm>
          <a:effectLst/>
        </p:grpSpPr>
        <p:sp>
          <p:nvSpPr>
            <p:cNvPr id="142" name="矩形 141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3" name="矩形 142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4" name="组合 143"/>
          <p:cNvGrpSpPr/>
          <p:nvPr/>
        </p:nvGrpSpPr>
        <p:grpSpPr>
          <a:xfrm rot="10800000">
            <a:off x="7016265" y="2425913"/>
            <a:ext cx="1290963" cy="1438727"/>
            <a:chOff x="1190489" y="1328801"/>
            <a:chExt cx="1290963" cy="1438727"/>
          </a:xfrm>
          <a:effectLst/>
        </p:grpSpPr>
        <p:sp>
          <p:nvSpPr>
            <p:cNvPr id="145" name="矩形 144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6" name="矩形 145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7" name="组合 146"/>
          <p:cNvGrpSpPr/>
          <p:nvPr/>
        </p:nvGrpSpPr>
        <p:grpSpPr>
          <a:xfrm rot="10800000">
            <a:off x="8094049" y="2427706"/>
            <a:ext cx="1290963" cy="1438727"/>
            <a:chOff x="1190489" y="1328801"/>
            <a:chExt cx="1290963" cy="1438727"/>
          </a:xfrm>
          <a:effectLst/>
        </p:grpSpPr>
        <p:sp>
          <p:nvSpPr>
            <p:cNvPr id="148" name="矩形 147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9" name="矩形 148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50" name="Picture 66"/>
          <p:cNvPicPr>
            <a:picLocks noChangeAspect="1" noChangeArrowheads="1"/>
          </p:cNvPicPr>
          <p:nvPr/>
        </p:nvPicPr>
        <p:blipFill rotWithShape="1"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861"/>
          <a:stretch>
            <a:fillRect/>
          </a:stretch>
        </p:blipFill>
        <p:spPr bwMode="auto">
          <a:xfrm>
            <a:off x="5590509" y="2251651"/>
            <a:ext cx="1010981" cy="903513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</p:spPr>
      </p:pic>
      <p:pic>
        <p:nvPicPr>
          <p:cNvPr id="151" name="Picture 7" descr="\\MAGNUM\Projects\Microsoft\Cloud Power FY12\Design\ICONS_PNG\Within_Your_Reach.png"/>
          <p:cNvPicPr>
            <a:picLocks noChangeAspect="1" noChangeArrowheads="1"/>
          </p:cNvPicPr>
          <p:nvPr/>
        </p:nvPicPr>
        <p:blipFill>
          <a:blip r:embed="rId3" cstate="print">
            <a:biLevel thresh="25000"/>
          </a:blip>
          <a:stretch>
            <a:fillRect/>
          </a:stretch>
        </p:blipFill>
        <p:spPr bwMode="auto">
          <a:xfrm>
            <a:off x="7155517" y="2240429"/>
            <a:ext cx="568296" cy="619799"/>
          </a:xfrm>
          <a:prstGeom prst="rect">
            <a:avLst/>
          </a:prstGeom>
          <a:noFill/>
          <a:effectLst/>
        </p:spPr>
      </p:pic>
      <p:pic>
        <p:nvPicPr>
          <p:cNvPr id="152" name="Picture 25" descr="\\MAGNUM\Projects\Microsoft\Cloud Power FY12\Design\ICONS_PNG\Application.png"/>
          <p:cNvPicPr>
            <a:picLocks noChangeAspect="1" noChangeArrowheads="1"/>
          </p:cNvPicPr>
          <p:nvPr/>
        </p:nvPicPr>
        <p:blipFill rotWithShape="1">
          <a:blip r:embed="rId4" cstate="print">
            <a:biLevel thresh="25000"/>
          </a:blip>
          <a:srcRect l="30174" t="36465" r="28608" b="29915"/>
          <a:stretch>
            <a:fillRect/>
          </a:stretch>
        </p:blipFill>
        <p:spPr bwMode="auto">
          <a:xfrm>
            <a:off x="3115289" y="2343806"/>
            <a:ext cx="596375" cy="486442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53" name="Icon-Ideas"/>
          <p:cNvSpPr>
            <a:spLocks noEditPoints="1"/>
          </p:cNvSpPr>
          <p:nvPr/>
        </p:nvSpPr>
        <p:spPr bwMode="auto">
          <a:xfrm>
            <a:off x="4321599" y="2459016"/>
            <a:ext cx="419268" cy="371232"/>
          </a:xfrm>
          <a:custGeom>
            <a:avLst/>
            <a:gdLst>
              <a:gd name="T0" fmla="*/ 751 w 3306"/>
              <a:gd name="T1" fmla="*/ 1653 h 2928"/>
              <a:gd name="T2" fmla="*/ 1178 w 3306"/>
              <a:gd name="T3" fmla="*/ 2807 h 2928"/>
              <a:gd name="T4" fmla="*/ 2006 w 3306"/>
              <a:gd name="T5" fmla="*/ 2928 h 2928"/>
              <a:gd name="T6" fmla="*/ 2127 w 3306"/>
              <a:gd name="T7" fmla="*/ 2420 h 2928"/>
              <a:gd name="T8" fmla="*/ 1653 w 3306"/>
              <a:gd name="T9" fmla="*/ 751 h 2928"/>
              <a:gd name="T10" fmla="*/ 1421 w 3306"/>
              <a:gd name="T11" fmla="*/ 2685 h 2928"/>
              <a:gd name="T12" fmla="*/ 1653 w 3306"/>
              <a:gd name="T13" fmla="*/ 2555 h 2928"/>
              <a:gd name="T14" fmla="*/ 1884 w 3306"/>
              <a:gd name="T15" fmla="*/ 2685 h 2928"/>
              <a:gd name="T16" fmla="*/ 994 w 3306"/>
              <a:gd name="T17" fmla="*/ 1653 h 2928"/>
              <a:gd name="T18" fmla="*/ 2312 w 3306"/>
              <a:gd name="T19" fmla="*/ 1653 h 2928"/>
              <a:gd name="T20" fmla="*/ 1532 w 3306"/>
              <a:gd name="T21" fmla="*/ 501 h 2928"/>
              <a:gd name="T22" fmla="*/ 1653 w 3306"/>
              <a:gd name="T23" fmla="*/ 0 h 2928"/>
              <a:gd name="T24" fmla="*/ 1774 w 3306"/>
              <a:gd name="T25" fmla="*/ 501 h 2928"/>
              <a:gd name="T26" fmla="*/ 1532 w 3306"/>
              <a:gd name="T27" fmla="*/ 501 h 2928"/>
              <a:gd name="T28" fmla="*/ 2382 w 3306"/>
              <a:gd name="T29" fmla="*/ 752 h 2928"/>
              <a:gd name="T30" fmla="*/ 2822 w 3306"/>
              <a:gd name="T31" fmla="*/ 484 h 2928"/>
              <a:gd name="T32" fmla="*/ 2553 w 3306"/>
              <a:gd name="T33" fmla="*/ 924 h 2928"/>
              <a:gd name="T34" fmla="*/ 2382 w 3306"/>
              <a:gd name="T35" fmla="*/ 924 h 2928"/>
              <a:gd name="T36" fmla="*/ 924 w 3306"/>
              <a:gd name="T37" fmla="*/ 2554 h 2928"/>
              <a:gd name="T38" fmla="*/ 570 w 3306"/>
              <a:gd name="T39" fmla="*/ 2858 h 2928"/>
              <a:gd name="T40" fmla="*/ 484 w 3306"/>
              <a:gd name="T41" fmla="*/ 2650 h 2928"/>
              <a:gd name="T42" fmla="*/ 924 w 3306"/>
              <a:gd name="T43" fmla="*/ 2382 h 2928"/>
              <a:gd name="T44" fmla="*/ 3185 w 3306"/>
              <a:gd name="T45" fmla="*/ 1775 h 2928"/>
              <a:gd name="T46" fmla="*/ 2684 w 3306"/>
              <a:gd name="T47" fmla="*/ 1653 h 2928"/>
              <a:gd name="T48" fmla="*/ 3185 w 3306"/>
              <a:gd name="T49" fmla="*/ 1532 h 2928"/>
              <a:gd name="T50" fmla="*/ 500 w 3306"/>
              <a:gd name="T51" fmla="*/ 1775 h 2928"/>
              <a:gd name="T52" fmla="*/ 0 w 3306"/>
              <a:gd name="T53" fmla="*/ 1653 h 2928"/>
              <a:gd name="T54" fmla="*/ 500 w 3306"/>
              <a:gd name="T55" fmla="*/ 1532 h 2928"/>
              <a:gd name="T56" fmla="*/ 500 w 3306"/>
              <a:gd name="T57" fmla="*/ 1775 h 2928"/>
              <a:gd name="T58" fmla="*/ 2822 w 3306"/>
              <a:gd name="T59" fmla="*/ 2822 h 2928"/>
              <a:gd name="T60" fmla="*/ 2650 w 3306"/>
              <a:gd name="T61" fmla="*/ 2822 h 2928"/>
              <a:gd name="T62" fmla="*/ 2382 w 3306"/>
              <a:gd name="T63" fmla="*/ 2382 h 2928"/>
              <a:gd name="T64" fmla="*/ 2822 w 3306"/>
              <a:gd name="T65" fmla="*/ 2650 h 2928"/>
              <a:gd name="T66" fmla="*/ 484 w 3306"/>
              <a:gd name="T67" fmla="*/ 484 h 2928"/>
              <a:gd name="T68" fmla="*/ 924 w 3306"/>
              <a:gd name="T69" fmla="*/ 752 h 2928"/>
              <a:gd name="T70" fmla="*/ 838 w 3306"/>
              <a:gd name="T71" fmla="*/ 960 h 2928"/>
              <a:gd name="T72" fmla="*/ 484 w 3306"/>
              <a:gd name="T73" fmla="*/ 656 h 29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306" h="2928">
                <a:moveTo>
                  <a:pt x="1653" y="751"/>
                </a:moveTo>
                <a:cubicBezTo>
                  <a:pt x="1155" y="751"/>
                  <a:pt x="751" y="1156"/>
                  <a:pt x="751" y="1653"/>
                </a:cubicBezTo>
                <a:cubicBezTo>
                  <a:pt x="751" y="1977"/>
                  <a:pt x="922" y="2260"/>
                  <a:pt x="1178" y="2420"/>
                </a:cubicBezTo>
                <a:cubicBezTo>
                  <a:pt x="1178" y="2807"/>
                  <a:pt x="1178" y="2807"/>
                  <a:pt x="1178" y="2807"/>
                </a:cubicBezTo>
                <a:cubicBezTo>
                  <a:pt x="1178" y="2874"/>
                  <a:pt x="1233" y="2928"/>
                  <a:pt x="1300" y="2928"/>
                </a:cubicBezTo>
                <a:cubicBezTo>
                  <a:pt x="2006" y="2928"/>
                  <a:pt x="2006" y="2928"/>
                  <a:pt x="2006" y="2928"/>
                </a:cubicBezTo>
                <a:cubicBezTo>
                  <a:pt x="2073" y="2928"/>
                  <a:pt x="2127" y="2874"/>
                  <a:pt x="2127" y="2807"/>
                </a:cubicBezTo>
                <a:cubicBezTo>
                  <a:pt x="2127" y="2420"/>
                  <a:pt x="2127" y="2420"/>
                  <a:pt x="2127" y="2420"/>
                </a:cubicBezTo>
                <a:cubicBezTo>
                  <a:pt x="2384" y="2260"/>
                  <a:pt x="2555" y="1977"/>
                  <a:pt x="2555" y="1653"/>
                </a:cubicBezTo>
                <a:cubicBezTo>
                  <a:pt x="2555" y="1156"/>
                  <a:pt x="2150" y="751"/>
                  <a:pt x="1653" y="751"/>
                </a:cubicBezTo>
                <a:close/>
                <a:moveTo>
                  <a:pt x="1884" y="2685"/>
                </a:moveTo>
                <a:cubicBezTo>
                  <a:pt x="1421" y="2685"/>
                  <a:pt x="1421" y="2685"/>
                  <a:pt x="1421" y="2685"/>
                </a:cubicBezTo>
                <a:cubicBezTo>
                  <a:pt x="1421" y="2525"/>
                  <a:pt x="1421" y="2525"/>
                  <a:pt x="1421" y="2525"/>
                </a:cubicBezTo>
                <a:cubicBezTo>
                  <a:pt x="1495" y="2544"/>
                  <a:pt x="1573" y="2555"/>
                  <a:pt x="1653" y="2555"/>
                </a:cubicBezTo>
                <a:cubicBezTo>
                  <a:pt x="1733" y="2555"/>
                  <a:pt x="1810" y="2544"/>
                  <a:pt x="1884" y="2525"/>
                </a:cubicBezTo>
                <a:lnTo>
                  <a:pt x="1884" y="2685"/>
                </a:lnTo>
                <a:close/>
                <a:moveTo>
                  <a:pt x="1653" y="2312"/>
                </a:moveTo>
                <a:cubicBezTo>
                  <a:pt x="1289" y="2312"/>
                  <a:pt x="994" y="2016"/>
                  <a:pt x="994" y="1653"/>
                </a:cubicBezTo>
                <a:cubicBezTo>
                  <a:pt x="994" y="1290"/>
                  <a:pt x="1289" y="994"/>
                  <a:pt x="1653" y="994"/>
                </a:cubicBezTo>
                <a:cubicBezTo>
                  <a:pt x="2016" y="994"/>
                  <a:pt x="2312" y="1290"/>
                  <a:pt x="2312" y="1653"/>
                </a:cubicBezTo>
                <a:cubicBezTo>
                  <a:pt x="2312" y="2016"/>
                  <a:pt x="2016" y="2312"/>
                  <a:pt x="1653" y="2312"/>
                </a:cubicBezTo>
                <a:close/>
                <a:moveTo>
                  <a:pt x="1532" y="501"/>
                </a:moveTo>
                <a:cubicBezTo>
                  <a:pt x="1532" y="121"/>
                  <a:pt x="1532" y="121"/>
                  <a:pt x="1532" y="121"/>
                </a:cubicBezTo>
                <a:cubicBezTo>
                  <a:pt x="1532" y="54"/>
                  <a:pt x="1586" y="0"/>
                  <a:pt x="1653" y="0"/>
                </a:cubicBezTo>
                <a:cubicBezTo>
                  <a:pt x="1720" y="0"/>
                  <a:pt x="1774" y="54"/>
                  <a:pt x="1774" y="121"/>
                </a:cubicBezTo>
                <a:cubicBezTo>
                  <a:pt x="1774" y="501"/>
                  <a:pt x="1774" y="501"/>
                  <a:pt x="1774" y="501"/>
                </a:cubicBezTo>
                <a:cubicBezTo>
                  <a:pt x="1774" y="568"/>
                  <a:pt x="1720" y="622"/>
                  <a:pt x="1653" y="622"/>
                </a:cubicBezTo>
                <a:cubicBezTo>
                  <a:pt x="1586" y="622"/>
                  <a:pt x="1532" y="568"/>
                  <a:pt x="1532" y="501"/>
                </a:cubicBezTo>
                <a:close/>
                <a:moveTo>
                  <a:pt x="2382" y="924"/>
                </a:moveTo>
                <a:cubicBezTo>
                  <a:pt x="2334" y="877"/>
                  <a:pt x="2334" y="800"/>
                  <a:pt x="2382" y="752"/>
                </a:cubicBezTo>
                <a:cubicBezTo>
                  <a:pt x="2650" y="484"/>
                  <a:pt x="2650" y="484"/>
                  <a:pt x="2650" y="484"/>
                </a:cubicBezTo>
                <a:cubicBezTo>
                  <a:pt x="2697" y="437"/>
                  <a:pt x="2774" y="437"/>
                  <a:pt x="2822" y="484"/>
                </a:cubicBezTo>
                <a:cubicBezTo>
                  <a:pt x="2869" y="531"/>
                  <a:pt x="2869" y="608"/>
                  <a:pt x="2822" y="656"/>
                </a:cubicBezTo>
                <a:cubicBezTo>
                  <a:pt x="2553" y="924"/>
                  <a:pt x="2553" y="924"/>
                  <a:pt x="2553" y="924"/>
                </a:cubicBezTo>
                <a:cubicBezTo>
                  <a:pt x="2530" y="948"/>
                  <a:pt x="2499" y="960"/>
                  <a:pt x="2468" y="960"/>
                </a:cubicBezTo>
                <a:cubicBezTo>
                  <a:pt x="2436" y="960"/>
                  <a:pt x="2405" y="948"/>
                  <a:pt x="2382" y="924"/>
                </a:cubicBezTo>
                <a:close/>
                <a:moveTo>
                  <a:pt x="924" y="2382"/>
                </a:moveTo>
                <a:cubicBezTo>
                  <a:pt x="971" y="2429"/>
                  <a:pt x="971" y="2506"/>
                  <a:pt x="924" y="2554"/>
                </a:cubicBezTo>
                <a:cubicBezTo>
                  <a:pt x="656" y="2822"/>
                  <a:pt x="656" y="2822"/>
                  <a:pt x="656" y="2822"/>
                </a:cubicBezTo>
                <a:cubicBezTo>
                  <a:pt x="632" y="2846"/>
                  <a:pt x="600" y="2858"/>
                  <a:pt x="570" y="2858"/>
                </a:cubicBezTo>
                <a:cubicBezTo>
                  <a:pt x="539" y="2858"/>
                  <a:pt x="507" y="2846"/>
                  <a:pt x="484" y="2822"/>
                </a:cubicBezTo>
                <a:cubicBezTo>
                  <a:pt x="436" y="2775"/>
                  <a:pt x="436" y="2698"/>
                  <a:pt x="484" y="2650"/>
                </a:cubicBezTo>
                <a:cubicBezTo>
                  <a:pt x="752" y="2382"/>
                  <a:pt x="752" y="2382"/>
                  <a:pt x="752" y="2382"/>
                </a:cubicBezTo>
                <a:cubicBezTo>
                  <a:pt x="800" y="2335"/>
                  <a:pt x="877" y="2335"/>
                  <a:pt x="924" y="2382"/>
                </a:cubicBezTo>
                <a:close/>
                <a:moveTo>
                  <a:pt x="3306" y="1653"/>
                </a:moveTo>
                <a:cubicBezTo>
                  <a:pt x="3306" y="1720"/>
                  <a:pt x="3252" y="1775"/>
                  <a:pt x="3185" y="1775"/>
                </a:cubicBezTo>
                <a:cubicBezTo>
                  <a:pt x="2805" y="1775"/>
                  <a:pt x="2805" y="1775"/>
                  <a:pt x="2805" y="1775"/>
                </a:cubicBezTo>
                <a:cubicBezTo>
                  <a:pt x="2738" y="1775"/>
                  <a:pt x="2684" y="1720"/>
                  <a:pt x="2684" y="1653"/>
                </a:cubicBezTo>
                <a:cubicBezTo>
                  <a:pt x="2684" y="1586"/>
                  <a:pt x="2738" y="1532"/>
                  <a:pt x="2805" y="1532"/>
                </a:cubicBezTo>
                <a:cubicBezTo>
                  <a:pt x="3185" y="1532"/>
                  <a:pt x="3185" y="1532"/>
                  <a:pt x="3185" y="1532"/>
                </a:cubicBezTo>
                <a:cubicBezTo>
                  <a:pt x="3252" y="1532"/>
                  <a:pt x="3306" y="1586"/>
                  <a:pt x="3306" y="1653"/>
                </a:cubicBezTo>
                <a:close/>
                <a:moveTo>
                  <a:pt x="500" y="1775"/>
                </a:moveTo>
                <a:cubicBezTo>
                  <a:pt x="121" y="1775"/>
                  <a:pt x="121" y="1775"/>
                  <a:pt x="121" y="1775"/>
                </a:cubicBezTo>
                <a:cubicBezTo>
                  <a:pt x="54" y="1775"/>
                  <a:pt x="0" y="1720"/>
                  <a:pt x="0" y="1653"/>
                </a:cubicBezTo>
                <a:cubicBezTo>
                  <a:pt x="0" y="1586"/>
                  <a:pt x="54" y="1532"/>
                  <a:pt x="121" y="1532"/>
                </a:cubicBezTo>
                <a:cubicBezTo>
                  <a:pt x="500" y="1532"/>
                  <a:pt x="500" y="1532"/>
                  <a:pt x="500" y="1532"/>
                </a:cubicBezTo>
                <a:cubicBezTo>
                  <a:pt x="568" y="1532"/>
                  <a:pt x="622" y="1586"/>
                  <a:pt x="622" y="1653"/>
                </a:cubicBezTo>
                <a:cubicBezTo>
                  <a:pt x="622" y="1720"/>
                  <a:pt x="568" y="1775"/>
                  <a:pt x="500" y="1775"/>
                </a:cubicBezTo>
                <a:close/>
                <a:moveTo>
                  <a:pt x="2822" y="2650"/>
                </a:moveTo>
                <a:cubicBezTo>
                  <a:pt x="2869" y="2698"/>
                  <a:pt x="2869" y="2775"/>
                  <a:pt x="2822" y="2822"/>
                </a:cubicBezTo>
                <a:cubicBezTo>
                  <a:pt x="2798" y="2846"/>
                  <a:pt x="2767" y="2857"/>
                  <a:pt x="2736" y="2857"/>
                </a:cubicBezTo>
                <a:cubicBezTo>
                  <a:pt x="2705" y="2857"/>
                  <a:pt x="2674" y="2846"/>
                  <a:pt x="2650" y="2822"/>
                </a:cubicBezTo>
                <a:cubicBezTo>
                  <a:pt x="2382" y="2554"/>
                  <a:pt x="2382" y="2554"/>
                  <a:pt x="2382" y="2554"/>
                </a:cubicBezTo>
                <a:cubicBezTo>
                  <a:pt x="2334" y="2506"/>
                  <a:pt x="2334" y="2429"/>
                  <a:pt x="2382" y="2382"/>
                </a:cubicBezTo>
                <a:cubicBezTo>
                  <a:pt x="2429" y="2335"/>
                  <a:pt x="2506" y="2335"/>
                  <a:pt x="2553" y="2382"/>
                </a:cubicBezTo>
                <a:lnTo>
                  <a:pt x="2822" y="2650"/>
                </a:lnTo>
                <a:close/>
                <a:moveTo>
                  <a:pt x="484" y="656"/>
                </a:moveTo>
                <a:cubicBezTo>
                  <a:pt x="436" y="608"/>
                  <a:pt x="436" y="531"/>
                  <a:pt x="484" y="484"/>
                </a:cubicBezTo>
                <a:cubicBezTo>
                  <a:pt x="531" y="437"/>
                  <a:pt x="608" y="437"/>
                  <a:pt x="656" y="484"/>
                </a:cubicBezTo>
                <a:cubicBezTo>
                  <a:pt x="924" y="752"/>
                  <a:pt x="924" y="752"/>
                  <a:pt x="924" y="752"/>
                </a:cubicBezTo>
                <a:cubicBezTo>
                  <a:pt x="971" y="800"/>
                  <a:pt x="971" y="877"/>
                  <a:pt x="924" y="924"/>
                </a:cubicBezTo>
                <a:cubicBezTo>
                  <a:pt x="900" y="948"/>
                  <a:pt x="869" y="960"/>
                  <a:pt x="838" y="960"/>
                </a:cubicBezTo>
                <a:cubicBezTo>
                  <a:pt x="807" y="960"/>
                  <a:pt x="776" y="948"/>
                  <a:pt x="752" y="924"/>
                </a:cubicBezTo>
                <a:lnTo>
                  <a:pt x="484" y="6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68586" tIns="34294" rIns="68586" bIns="34294" numCol="1" anchor="t" anchorCtr="0" compatLnSpc="1"/>
          <a:lstStyle/>
          <a:p>
            <a:endParaRPr lang="en-US"/>
          </a:p>
        </p:txBody>
      </p:sp>
      <p:pic>
        <p:nvPicPr>
          <p:cNvPr id="154" name="Picture 40" descr="C:\Users\sakuu\Documents\Ballmer WPC\PNGS\TV.pn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3955" y="2403688"/>
            <a:ext cx="365575" cy="351610"/>
          </a:xfrm>
          <a:prstGeom prst="rect">
            <a:avLst/>
          </a:prstGeom>
          <a:noFill/>
          <a:effectLst/>
        </p:spPr>
      </p:pic>
      <p:sp>
        <p:nvSpPr>
          <p:cNvPr id="155" name="TextBox 1"/>
          <p:cNvSpPr txBox="1"/>
          <p:nvPr/>
        </p:nvSpPr>
        <p:spPr>
          <a:xfrm rot="2688533">
            <a:off x="2490608" y="3248023"/>
            <a:ext cx="1549343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bg1"/>
                </a:solidFill>
              </a:rPr>
              <a:t>Private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 </a:t>
            </a:r>
            <a:r>
              <a:rPr lang="en-US" altLang="zh-CN" sz="1600" b="1" dirty="0" smtClean="0">
                <a:solidFill>
                  <a:schemeClr val="bg1"/>
                </a:solidFill>
              </a:rPr>
              <a:t>Cloud</a:t>
            </a:r>
            <a:endParaRPr lang="en-US" altLang="zh-CN" sz="1600" b="1" dirty="0" smtClean="0">
              <a:solidFill>
                <a:schemeClr val="bg1"/>
              </a:solidFill>
            </a:endParaRPr>
          </a:p>
        </p:txBody>
      </p:sp>
      <p:sp>
        <p:nvSpPr>
          <p:cNvPr id="156" name="TextBox 27"/>
          <p:cNvSpPr txBox="1"/>
          <p:nvPr/>
        </p:nvSpPr>
        <p:spPr>
          <a:xfrm rot="2688533">
            <a:off x="3651461" y="3242000"/>
            <a:ext cx="1395673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bg1"/>
                </a:solidFill>
              </a:rPr>
              <a:t>Community </a:t>
            </a:r>
            <a:endParaRPr lang="en-US" altLang="zh-CN" sz="1600" b="1" dirty="0" smtClean="0">
              <a:solidFill>
                <a:schemeClr val="bg1"/>
              </a:solidFill>
            </a:endParaRPr>
          </a:p>
        </p:txBody>
      </p:sp>
      <p:sp>
        <p:nvSpPr>
          <p:cNvPr id="157" name="TextBox 28"/>
          <p:cNvSpPr txBox="1"/>
          <p:nvPr/>
        </p:nvSpPr>
        <p:spPr>
          <a:xfrm rot="18869514">
            <a:off x="7127277" y="3111962"/>
            <a:ext cx="1395673" cy="29418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99135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spc="-77" dirty="0">
                <a:solidFill>
                  <a:schemeClr val="bg1"/>
                </a:solidFill>
              </a:rPr>
              <a:t>Public Cloud</a:t>
            </a:r>
            <a:endParaRPr lang="en-US" altLang="zh-CN" sz="1600" b="1" spc="-77" dirty="0">
              <a:solidFill>
                <a:schemeClr val="bg1"/>
              </a:solidFill>
            </a:endParaRPr>
          </a:p>
        </p:txBody>
      </p:sp>
      <p:sp>
        <p:nvSpPr>
          <p:cNvPr id="158" name="TextBox 29"/>
          <p:cNvSpPr txBox="1"/>
          <p:nvPr/>
        </p:nvSpPr>
        <p:spPr>
          <a:xfrm rot="18869514">
            <a:off x="8153713" y="2999037"/>
            <a:ext cx="1640467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chemeClr val="bg1"/>
                </a:solidFill>
              </a:rPr>
              <a:t>Hybrid</a:t>
            </a:r>
            <a:r>
              <a:rPr lang="zh-CN" altLang="en-US" sz="1600" b="1" dirty="0" smtClean="0">
                <a:solidFill>
                  <a:schemeClr val="bg1"/>
                </a:solidFill>
              </a:rPr>
              <a:t> </a:t>
            </a:r>
            <a:r>
              <a:rPr lang="en-US" altLang="zh-CN" sz="1600" b="1" dirty="0" smtClean="0">
                <a:solidFill>
                  <a:schemeClr val="bg1"/>
                </a:solidFill>
              </a:rPr>
              <a:t>Cloud</a:t>
            </a:r>
            <a:endParaRPr lang="en-US" altLang="zh-CN" sz="1600" b="1" dirty="0" smtClean="0">
              <a:solidFill>
                <a:schemeClr val="bg1"/>
              </a:solidFill>
            </a:endParaRPr>
          </a:p>
        </p:txBody>
      </p:sp>
      <p:sp>
        <p:nvSpPr>
          <p:cNvPr id="159" name="TextBox 30"/>
          <p:cNvSpPr txBox="1"/>
          <p:nvPr/>
        </p:nvSpPr>
        <p:spPr>
          <a:xfrm>
            <a:off x="5412335" y="3216725"/>
            <a:ext cx="1395673" cy="4001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2000" b="1" dirty="0" smtClean="0">
                <a:solidFill>
                  <a:schemeClr val="bg1"/>
                </a:solidFill>
              </a:rPr>
              <a:t>YOUR TEXT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60" name="组合 159"/>
          <p:cNvGrpSpPr/>
          <p:nvPr/>
        </p:nvGrpSpPr>
        <p:grpSpPr>
          <a:xfrm>
            <a:off x="2515672" y="4141300"/>
            <a:ext cx="1407863" cy="1214612"/>
            <a:chOff x="798679" y="5419437"/>
            <a:chExt cx="1407863" cy="12146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1" name="文本框 160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5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62" name="文本框 161"/>
            <p:cNvSpPr txBox="1"/>
            <p:nvPr/>
          </p:nvSpPr>
          <p:spPr>
            <a:xfrm>
              <a:off x="867198" y="5795538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63" name="矩形 162"/>
            <p:cNvSpPr/>
            <p:nvPr/>
          </p:nvSpPr>
          <p:spPr>
            <a:xfrm>
              <a:off x="803373" y="6003107"/>
              <a:ext cx="1403169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4" name="组合 163"/>
          <p:cNvGrpSpPr/>
          <p:nvPr/>
        </p:nvGrpSpPr>
        <p:grpSpPr>
          <a:xfrm>
            <a:off x="3934178" y="4141300"/>
            <a:ext cx="1344026" cy="1230360"/>
            <a:chOff x="787664" y="5419437"/>
            <a:chExt cx="1344026" cy="12303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5" name="文本框 164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6</a:t>
              </a:r>
              <a:r>
                <a:rPr lang="en-US" altLang="zh-CN" sz="2400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66" name="文本框 165"/>
            <p:cNvSpPr txBox="1"/>
            <p:nvPr/>
          </p:nvSpPr>
          <p:spPr>
            <a:xfrm>
              <a:off x="913737" y="5794449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67" name="矩形 166"/>
            <p:cNvSpPr/>
            <p:nvPr/>
          </p:nvSpPr>
          <p:spPr>
            <a:xfrm>
              <a:off x="787664" y="6018855"/>
              <a:ext cx="1344026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8" name="组合 167"/>
          <p:cNvGrpSpPr/>
          <p:nvPr/>
        </p:nvGrpSpPr>
        <p:grpSpPr>
          <a:xfrm>
            <a:off x="6765808" y="4141300"/>
            <a:ext cx="1398231" cy="1264313"/>
            <a:chOff x="798679" y="5419437"/>
            <a:chExt cx="1398231" cy="12643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9" name="文本框 168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7</a:t>
              </a:r>
              <a:r>
                <a:rPr lang="en-US" altLang="zh-CN" sz="2400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70" name="文本框 169"/>
            <p:cNvSpPr txBox="1"/>
            <p:nvPr/>
          </p:nvSpPr>
          <p:spPr>
            <a:xfrm>
              <a:off x="940917" y="5794519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71" name="矩形 170"/>
            <p:cNvSpPr/>
            <p:nvPr/>
          </p:nvSpPr>
          <p:spPr>
            <a:xfrm>
              <a:off x="803374" y="6052808"/>
              <a:ext cx="1393536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2" name="组合 171"/>
          <p:cNvGrpSpPr/>
          <p:nvPr/>
        </p:nvGrpSpPr>
        <p:grpSpPr>
          <a:xfrm>
            <a:off x="8232545" y="4141300"/>
            <a:ext cx="1343788" cy="1266074"/>
            <a:chOff x="798679" y="5419437"/>
            <a:chExt cx="1343788" cy="12660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3" name="文本框 172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8</a:t>
              </a:r>
              <a:r>
                <a:rPr lang="en-US" altLang="zh-CN" sz="2400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74" name="文本框 173"/>
            <p:cNvSpPr txBox="1"/>
            <p:nvPr/>
          </p:nvSpPr>
          <p:spPr>
            <a:xfrm>
              <a:off x="977725" y="5812768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75" name="矩形 174"/>
            <p:cNvSpPr/>
            <p:nvPr/>
          </p:nvSpPr>
          <p:spPr>
            <a:xfrm>
              <a:off x="818873" y="6054569"/>
              <a:ext cx="1323594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6" name="组合 175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77" name="组合 176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84" name="矩形 183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5" name="文本框 184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86" name="文本框 185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91" name="直接连接符 190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椭圆 19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93" name="文本框 192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8" name="组合 177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82" name="六边形 181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3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79" name="组合 178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80" name="六边形 17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5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 53"/>
          <p:cNvSpPr>
            <a:spLocks noEditPoints="1"/>
          </p:cNvSpPr>
          <p:nvPr/>
        </p:nvSpPr>
        <p:spPr bwMode="black">
          <a:xfrm>
            <a:off x="5731122" y="995799"/>
            <a:ext cx="780354" cy="880657"/>
          </a:xfrm>
          <a:custGeom>
            <a:avLst/>
            <a:gdLst>
              <a:gd name="T0" fmla="*/ 466 w 1443"/>
              <a:gd name="T1" fmla="*/ 0 h 1627"/>
              <a:gd name="T2" fmla="*/ 466 w 1443"/>
              <a:gd name="T3" fmla="*/ 294 h 1627"/>
              <a:gd name="T4" fmla="*/ 0 w 1443"/>
              <a:gd name="T5" fmla="*/ 1173 h 1627"/>
              <a:gd name="T6" fmla="*/ 48 w 1443"/>
              <a:gd name="T7" fmla="*/ 1230 h 1627"/>
              <a:gd name="T8" fmla="*/ 186 w 1443"/>
              <a:gd name="T9" fmla="*/ 1363 h 1627"/>
              <a:gd name="T10" fmla="*/ 210 w 1443"/>
              <a:gd name="T11" fmla="*/ 1455 h 1627"/>
              <a:gd name="T12" fmla="*/ 31 w 1443"/>
              <a:gd name="T13" fmla="*/ 1545 h 1627"/>
              <a:gd name="T14" fmla="*/ 49 w 1443"/>
              <a:gd name="T15" fmla="*/ 1554 h 1627"/>
              <a:gd name="T16" fmla="*/ 61 w 1443"/>
              <a:gd name="T17" fmla="*/ 1620 h 1627"/>
              <a:gd name="T18" fmla="*/ 73 w 1443"/>
              <a:gd name="T19" fmla="*/ 1553 h 1627"/>
              <a:gd name="T20" fmla="*/ 210 w 1443"/>
              <a:gd name="T21" fmla="*/ 1525 h 1627"/>
              <a:gd name="T22" fmla="*/ 215 w 1443"/>
              <a:gd name="T23" fmla="*/ 1537 h 1627"/>
              <a:gd name="T24" fmla="*/ 228 w 1443"/>
              <a:gd name="T25" fmla="*/ 1594 h 1627"/>
              <a:gd name="T26" fmla="*/ 258 w 1443"/>
              <a:gd name="T27" fmla="*/ 1627 h 1627"/>
              <a:gd name="T28" fmla="*/ 271 w 1443"/>
              <a:gd name="T29" fmla="*/ 1594 h 1627"/>
              <a:gd name="T30" fmla="*/ 276 w 1443"/>
              <a:gd name="T31" fmla="*/ 1537 h 1627"/>
              <a:gd name="T32" fmla="*/ 411 w 1443"/>
              <a:gd name="T33" fmla="*/ 1541 h 1627"/>
              <a:gd name="T34" fmla="*/ 388 w 1443"/>
              <a:gd name="T35" fmla="*/ 1586 h 1627"/>
              <a:gd name="T36" fmla="*/ 457 w 1443"/>
              <a:gd name="T37" fmla="*/ 1586 h 1627"/>
              <a:gd name="T38" fmla="*/ 435 w 1443"/>
              <a:gd name="T39" fmla="*/ 1543 h 1627"/>
              <a:gd name="T40" fmla="*/ 452 w 1443"/>
              <a:gd name="T41" fmla="*/ 1504 h 1627"/>
              <a:gd name="T42" fmla="*/ 276 w 1443"/>
              <a:gd name="T43" fmla="*/ 1363 h 1627"/>
              <a:gd name="T44" fmla="*/ 299 w 1443"/>
              <a:gd name="T45" fmla="*/ 1230 h 1627"/>
              <a:gd name="T46" fmla="*/ 514 w 1443"/>
              <a:gd name="T47" fmla="*/ 1182 h 1627"/>
              <a:gd name="T48" fmla="*/ 494 w 1443"/>
              <a:gd name="T49" fmla="*/ 1134 h 1627"/>
              <a:gd name="T50" fmla="*/ 538 w 1443"/>
              <a:gd name="T51" fmla="*/ 1491 h 1627"/>
              <a:gd name="T52" fmla="*/ 722 w 1443"/>
              <a:gd name="T53" fmla="*/ 1528 h 1627"/>
              <a:gd name="T54" fmla="*/ 816 w 1443"/>
              <a:gd name="T55" fmla="*/ 1053 h 1627"/>
              <a:gd name="T56" fmla="*/ 817 w 1443"/>
              <a:gd name="T57" fmla="*/ 1052 h 1627"/>
              <a:gd name="T58" fmla="*/ 818 w 1443"/>
              <a:gd name="T59" fmla="*/ 1027 h 1627"/>
              <a:gd name="T60" fmla="*/ 439 w 1443"/>
              <a:gd name="T61" fmla="*/ 938 h 1627"/>
              <a:gd name="T62" fmla="*/ 820 w 1443"/>
              <a:gd name="T63" fmla="*/ 772 h 1627"/>
              <a:gd name="T64" fmla="*/ 1231 w 1443"/>
              <a:gd name="T65" fmla="*/ 760 h 1627"/>
              <a:gd name="T66" fmla="*/ 1245 w 1443"/>
              <a:gd name="T67" fmla="*/ 707 h 1627"/>
              <a:gd name="T68" fmla="*/ 1428 w 1443"/>
              <a:gd name="T69" fmla="*/ 267 h 1627"/>
              <a:gd name="T70" fmla="*/ 1235 w 1443"/>
              <a:gd name="T71" fmla="*/ 687 h 1627"/>
              <a:gd name="T72" fmla="*/ 1215 w 1443"/>
              <a:gd name="T73" fmla="*/ 700 h 1627"/>
              <a:gd name="T74" fmla="*/ 898 w 1443"/>
              <a:gd name="T75" fmla="*/ 693 h 1627"/>
              <a:gd name="T76" fmla="*/ 507 w 1443"/>
              <a:gd name="T77" fmla="*/ 615 h 1627"/>
              <a:gd name="T78" fmla="*/ 415 w 1443"/>
              <a:gd name="T79" fmla="*/ 354 h 1627"/>
              <a:gd name="T80" fmla="*/ 196 w 1443"/>
              <a:gd name="T81" fmla="*/ 456 h 1627"/>
              <a:gd name="T82" fmla="*/ 138 w 1443"/>
              <a:gd name="T83" fmla="*/ 730 h 1627"/>
              <a:gd name="T84" fmla="*/ 90 w 1443"/>
              <a:gd name="T85" fmla="*/ 530 h 1627"/>
              <a:gd name="T86" fmla="*/ 6 w 1443"/>
              <a:gd name="T87" fmla="*/ 578 h 1627"/>
              <a:gd name="T88" fmla="*/ 49 w 1443"/>
              <a:gd name="T89" fmla="*/ 966 h 1627"/>
              <a:gd name="T90" fmla="*/ 48 w 1443"/>
              <a:gd name="T91" fmla="*/ 1125 h 1627"/>
              <a:gd name="T92" fmla="*/ 96 w 1443"/>
              <a:gd name="T93" fmla="*/ 1084 h 1627"/>
              <a:gd name="T94" fmla="*/ 96 w 1443"/>
              <a:gd name="T95" fmla="*/ 1125 h 1627"/>
              <a:gd name="T96" fmla="*/ 1084 w 1443"/>
              <a:gd name="T97" fmla="*/ 1519 h 1627"/>
              <a:gd name="T98" fmla="*/ 824 w 1443"/>
              <a:gd name="T99" fmla="*/ 1618 h 1627"/>
              <a:gd name="T100" fmla="*/ 1443 w 1443"/>
              <a:gd name="T101" fmla="*/ 1519 h 1627"/>
              <a:gd name="T102" fmla="*/ 1293 w 1443"/>
              <a:gd name="T103" fmla="*/ 870 h 1627"/>
              <a:gd name="T104" fmla="*/ 1443 w 1443"/>
              <a:gd name="T105" fmla="*/ 772 h 1627"/>
              <a:gd name="T106" fmla="*/ 586 w 1443"/>
              <a:gd name="T107" fmla="*/ 870 h 1627"/>
              <a:gd name="T108" fmla="*/ 1084 w 1443"/>
              <a:gd name="T109" fmla="*/ 1519 h 1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" h="1627">
                <a:moveTo>
                  <a:pt x="613" y="147"/>
                </a:moveTo>
                <a:cubicBezTo>
                  <a:pt x="613" y="65"/>
                  <a:pt x="547" y="0"/>
                  <a:pt x="466" y="0"/>
                </a:cubicBezTo>
                <a:cubicBezTo>
                  <a:pt x="385" y="0"/>
                  <a:pt x="319" y="65"/>
                  <a:pt x="319" y="147"/>
                </a:cubicBezTo>
                <a:cubicBezTo>
                  <a:pt x="319" y="228"/>
                  <a:pt x="385" y="294"/>
                  <a:pt x="466" y="294"/>
                </a:cubicBezTo>
                <a:cubicBezTo>
                  <a:pt x="547" y="294"/>
                  <a:pt x="613" y="228"/>
                  <a:pt x="613" y="147"/>
                </a:cubicBezTo>
                <a:close/>
                <a:moveTo>
                  <a:pt x="0" y="1173"/>
                </a:moveTo>
                <a:cubicBezTo>
                  <a:pt x="0" y="1182"/>
                  <a:pt x="0" y="1182"/>
                  <a:pt x="0" y="1182"/>
                </a:cubicBezTo>
                <a:cubicBezTo>
                  <a:pt x="0" y="1208"/>
                  <a:pt x="22" y="1230"/>
                  <a:pt x="48" y="1230"/>
                </a:cubicBezTo>
                <a:cubicBezTo>
                  <a:pt x="186" y="1230"/>
                  <a:pt x="186" y="1230"/>
                  <a:pt x="186" y="1230"/>
                </a:cubicBezTo>
                <a:cubicBezTo>
                  <a:pt x="186" y="1363"/>
                  <a:pt x="186" y="1363"/>
                  <a:pt x="186" y="1363"/>
                </a:cubicBezTo>
                <a:cubicBezTo>
                  <a:pt x="210" y="1363"/>
                  <a:pt x="210" y="1363"/>
                  <a:pt x="210" y="1363"/>
                </a:cubicBezTo>
                <a:cubicBezTo>
                  <a:pt x="210" y="1455"/>
                  <a:pt x="210" y="1455"/>
                  <a:pt x="210" y="1455"/>
                </a:cubicBezTo>
                <a:cubicBezTo>
                  <a:pt x="31" y="1504"/>
                  <a:pt x="31" y="1504"/>
                  <a:pt x="31" y="1504"/>
                </a:cubicBezTo>
                <a:cubicBezTo>
                  <a:pt x="31" y="1545"/>
                  <a:pt x="31" y="1545"/>
                  <a:pt x="31" y="1545"/>
                </a:cubicBezTo>
                <a:cubicBezTo>
                  <a:pt x="49" y="1543"/>
                  <a:pt x="49" y="1543"/>
                  <a:pt x="49" y="1543"/>
                </a:cubicBezTo>
                <a:cubicBezTo>
                  <a:pt x="49" y="1554"/>
                  <a:pt x="49" y="1554"/>
                  <a:pt x="49" y="1554"/>
                </a:cubicBezTo>
                <a:cubicBezTo>
                  <a:pt x="36" y="1558"/>
                  <a:pt x="26" y="1571"/>
                  <a:pt x="26" y="1586"/>
                </a:cubicBezTo>
                <a:cubicBezTo>
                  <a:pt x="26" y="1605"/>
                  <a:pt x="42" y="1620"/>
                  <a:pt x="61" y="1620"/>
                </a:cubicBezTo>
                <a:cubicBezTo>
                  <a:pt x="80" y="1620"/>
                  <a:pt x="95" y="1605"/>
                  <a:pt x="95" y="1586"/>
                </a:cubicBezTo>
                <a:cubicBezTo>
                  <a:pt x="95" y="1571"/>
                  <a:pt x="86" y="1558"/>
                  <a:pt x="73" y="1553"/>
                </a:cubicBezTo>
                <a:cubicBezTo>
                  <a:pt x="73" y="1541"/>
                  <a:pt x="73" y="1541"/>
                  <a:pt x="73" y="1541"/>
                </a:cubicBezTo>
                <a:cubicBezTo>
                  <a:pt x="210" y="1525"/>
                  <a:pt x="210" y="1525"/>
                  <a:pt x="210" y="1525"/>
                </a:cubicBezTo>
                <a:cubicBezTo>
                  <a:pt x="210" y="1537"/>
                  <a:pt x="210" y="1537"/>
                  <a:pt x="210" y="1537"/>
                </a:cubicBezTo>
                <a:cubicBezTo>
                  <a:pt x="215" y="1537"/>
                  <a:pt x="215" y="1537"/>
                  <a:pt x="215" y="1537"/>
                </a:cubicBezTo>
                <a:cubicBezTo>
                  <a:pt x="215" y="1594"/>
                  <a:pt x="215" y="1594"/>
                  <a:pt x="215" y="1594"/>
                </a:cubicBezTo>
                <a:cubicBezTo>
                  <a:pt x="228" y="1594"/>
                  <a:pt x="228" y="1594"/>
                  <a:pt x="228" y="1594"/>
                </a:cubicBezTo>
                <a:cubicBezTo>
                  <a:pt x="228" y="1627"/>
                  <a:pt x="228" y="1627"/>
                  <a:pt x="228" y="1627"/>
                </a:cubicBezTo>
                <a:cubicBezTo>
                  <a:pt x="258" y="1627"/>
                  <a:pt x="258" y="1627"/>
                  <a:pt x="258" y="1627"/>
                </a:cubicBezTo>
                <a:cubicBezTo>
                  <a:pt x="258" y="1594"/>
                  <a:pt x="258" y="1594"/>
                  <a:pt x="258" y="1594"/>
                </a:cubicBezTo>
                <a:cubicBezTo>
                  <a:pt x="271" y="1594"/>
                  <a:pt x="271" y="1594"/>
                  <a:pt x="271" y="1594"/>
                </a:cubicBezTo>
                <a:cubicBezTo>
                  <a:pt x="271" y="1537"/>
                  <a:pt x="271" y="1537"/>
                  <a:pt x="271" y="1537"/>
                </a:cubicBezTo>
                <a:cubicBezTo>
                  <a:pt x="276" y="1537"/>
                  <a:pt x="276" y="1537"/>
                  <a:pt x="276" y="1537"/>
                </a:cubicBezTo>
                <a:cubicBezTo>
                  <a:pt x="276" y="1525"/>
                  <a:pt x="276" y="1525"/>
                  <a:pt x="276" y="1525"/>
                </a:cubicBezTo>
                <a:cubicBezTo>
                  <a:pt x="411" y="1541"/>
                  <a:pt x="411" y="1541"/>
                  <a:pt x="411" y="1541"/>
                </a:cubicBezTo>
                <a:cubicBezTo>
                  <a:pt x="411" y="1553"/>
                  <a:pt x="411" y="1553"/>
                  <a:pt x="411" y="1553"/>
                </a:cubicBezTo>
                <a:cubicBezTo>
                  <a:pt x="398" y="1558"/>
                  <a:pt x="388" y="1571"/>
                  <a:pt x="388" y="1586"/>
                </a:cubicBezTo>
                <a:cubicBezTo>
                  <a:pt x="388" y="1605"/>
                  <a:pt x="404" y="1620"/>
                  <a:pt x="423" y="1620"/>
                </a:cubicBezTo>
                <a:cubicBezTo>
                  <a:pt x="442" y="1620"/>
                  <a:pt x="457" y="1605"/>
                  <a:pt x="457" y="1586"/>
                </a:cubicBezTo>
                <a:cubicBezTo>
                  <a:pt x="457" y="1571"/>
                  <a:pt x="448" y="1558"/>
                  <a:pt x="435" y="1554"/>
                </a:cubicBezTo>
                <a:cubicBezTo>
                  <a:pt x="435" y="1543"/>
                  <a:pt x="435" y="1543"/>
                  <a:pt x="435" y="1543"/>
                </a:cubicBezTo>
                <a:cubicBezTo>
                  <a:pt x="452" y="1545"/>
                  <a:pt x="452" y="1545"/>
                  <a:pt x="452" y="1545"/>
                </a:cubicBezTo>
                <a:cubicBezTo>
                  <a:pt x="452" y="1504"/>
                  <a:pt x="452" y="1504"/>
                  <a:pt x="452" y="1504"/>
                </a:cubicBezTo>
                <a:cubicBezTo>
                  <a:pt x="276" y="1456"/>
                  <a:pt x="276" y="1456"/>
                  <a:pt x="276" y="1456"/>
                </a:cubicBezTo>
                <a:cubicBezTo>
                  <a:pt x="276" y="1363"/>
                  <a:pt x="276" y="1363"/>
                  <a:pt x="276" y="1363"/>
                </a:cubicBezTo>
                <a:cubicBezTo>
                  <a:pt x="299" y="1363"/>
                  <a:pt x="299" y="1363"/>
                  <a:pt x="299" y="1363"/>
                </a:cubicBezTo>
                <a:cubicBezTo>
                  <a:pt x="299" y="1230"/>
                  <a:pt x="299" y="1230"/>
                  <a:pt x="299" y="1230"/>
                </a:cubicBezTo>
                <a:cubicBezTo>
                  <a:pt x="466" y="1230"/>
                  <a:pt x="466" y="1230"/>
                  <a:pt x="466" y="1230"/>
                </a:cubicBezTo>
                <a:cubicBezTo>
                  <a:pt x="493" y="1230"/>
                  <a:pt x="514" y="1208"/>
                  <a:pt x="514" y="1182"/>
                </a:cubicBezTo>
                <a:cubicBezTo>
                  <a:pt x="514" y="1173"/>
                  <a:pt x="514" y="1173"/>
                  <a:pt x="514" y="1173"/>
                </a:cubicBezTo>
                <a:cubicBezTo>
                  <a:pt x="514" y="1157"/>
                  <a:pt x="506" y="1143"/>
                  <a:pt x="494" y="1134"/>
                </a:cubicBezTo>
                <a:cubicBezTo>
                  <a:pt x="609" y="1134"/>
                  <a:pt x="609" y="1134"/>
                  <a:pt x="609" y="1134"/>
                </a:cubicBezTo>
                <a:cubicBezTo>
                  <a:pt x="538" y="1491"/>
                  <a:pt x="538" y="1491"/>
                  <a:pt x="538" y="1491"/>
                </a:cubicBezTo>
                <a:cubicBezTo>
                  <a:pt x="528" y="1539"/>
                  <a:pt x="562" y="1586"/>
                  <a:pt x="613" y="1596"/>
                </a:cubicBezTo>
                <a:cubicBezTo>
                  <a:pt x="664" y="1606"/>
                  <a:pt x="713" y="1576"/>
                  <a:pt x="722" y="1528"/>
                </a:cubicBezTo>
                <a:cubicBezTo>
                  <a:pt x="816" y="1057"/>
                  <a:pt x="816" y="1057"/>
                  <a:pt x="816" y="1057"/>
                </a:cubicBezTo>
                <a:cubicBezTo>
                  <a:pt x="816" y="1056"/>
                  <a:pt x="816" y="1054"/>
                  <a:pt x="816" y="1053"/>
                </a:cubicBezTo>
                <a:cubicBezTo>
                  <a:pt x="816" y="1053"/>
                  <a:pt x="816" y="1053"/>
                  <a:pt x="816" y="1053"/>
                </a:cubicBezTo>
                <a:cubicBezTo>
                  <a:pt x="817" y="1053"/>
                  <a:pt x="817" y="1052"/>
                  <a:pt x="817" y="1052"/>
                </a:cubicBezTo>
                <a:cubicBezTo>
                  <a:pt x="817" y="1051"/>
                  <a:pt x="817" y="1051"/>
                  <a:pt x="817" y="1051"/>
                </a:cubicBezTo>
                <a:cubicBezTo>
                  <a:pt x="818" y="1043"/>
                  <a:pt x="818" y="1035"/>
                  <a:pt x="818" y="1027"/>
                </a:cubicBezTo>
                <a:cubicBezTo>
                  <a:pt x="813" y="977"/>
                  <a:pt x="771" y="938"/>
                  <a:pt x="720" y="938"/>
                </a:cubicBezTo>
                <a:cubicBezTo>
                  <a:pt x="439" y="938"/>
                  <a:pt x="439" y="938"/>
                  <a:pt x="439" y="938"/>
                </a:cubicBezTo>
                <a:cubicBezTo>
                  <a:pt x="474" y="772"/>
                  <a:pt x="474" y="772"/>
                  <a:pt x="474" y="772"/>
                </a:cubicBezTo>
                <a:cubicBezTo>
                  <a:pt x="820" y="772"/>
                  <a:pt x="820" y="772"/>
                  <a:pt x="820" y="772"/>
                </a:cubicBezTo>
                <a:cubicBezTo>
                  <a:pt x="835" y="772"/>
                  <a:pt x="849" y="767"/>
                  <a:pt x="861" y="760"/>
                </a:cubicBezTo>
                <a:cubicBezTo>
                  <a:pt x="1231" y="760"/>
                  <a:pt x="1231" y="760"/>
                  <a:pt x="1231" y="760"/>
                </a:cubicBezTo>
                <a:cubicBezTo>
                  <a:pt x="1231" y="717"/>
                  <a:pt x="1231" y="717"/>
                  <a:pt x="1231" y="717"/>
                </a:cubicBezTo>
                <a:cubicBezTo>
                  <a:pt x="1238" y="717"/>
                  <a:pt x="1251" y="709"/>
                  <a:pt x="1245" y="707"/>
                </a:cubicBezTo>
                <a:cubicBezTo>
                  <a:pt x="1258" y="712"/>
                  <a:pt x="1258" y="712"/>
                  <a:pt x="1258" y="712"/>
                </a:cubicBezTo>
                <a:cubicBezTo>
                  <a:pt x="1427" y="272"/>
                  <a:pt x="1255" y="721"/>
                  <a:pt x="1428" y="267"/>
                </a:cubicBezTo>
                <a:cubicBezTo>
                  <a:pt x="1372" y="246"/>
                  <a:pt x="1400" y="256"/>
                  <a:pt x="1400" y="25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4" y="686"/>
                  <a:pt x="1232" y="686"/>
                  <a:pt x="1231" y="686"/>
                </a:cubicBezTo>
                <a:cubicBezTo>
                  <a:pt x="1223" y="686"/>
                  <a:pt x="1216" y="692"/>
                  <a:pt x="1215" y="700"/>
                </a:cubicBezTo>
                <a:cubicBezTo>
                  <a:pt x="898" y="700"/>
                  <a:pt x="898" y="700"/>
                  <a:pt x="898" y="700"/>
                </a:cubicBezTo>
                <a:cubicBezTo>
                  <a:pt x="898" y="698"/>
                  <a:pt x="898" y="695"/>
                  <a:pt x="898" y="693"/>
                </a:cubicBezTo>
                <a:cubicBezTo>
                  <a:pt x="898" y="650"/>
                  <a:pt x="863" y="615"/>
                  <a:pt x="820" y="615"/>
                </a:cubicBezTo>
                <a:cubicBezTo>
                  <a:pt x="507" y="615"/>
                  <a:pt x="507" y="615"/>
                  <a:pt x="507" y="615"/>
                </a:cubicBezTo>
                <a:cubicBezTo>
                  <a:pt x="526" y="525"/>
                  <a:pt x="526" y="525"/>
                  <a:pt x="526" y="525"/>
                </a:cubicBezTo>
                <a:cubicBezTo>
                  <a:pt x="542" y="447"/>
                  <a:pt x="492" y="371"/>
                  <a:pt x="415" y="354"/>
                </a:cubicBezTo>
                <a:cubicBezTo>
                  <a:pt x="367" y="344"/>
                  <a:pt x="367" y="344"/>
                  <a:pt x="367" y="344"/>
                </a:cubicBezTo>
                <a:cubicBezTo>
                  <a:pt x="289" y="328"/>
                  <a:pt x="213" y="378"/>
                  <a:pt x="196" y="456"/>
                </a:cubicBezTo>
                <a:cubicBezTo>
                  <a:pt x="151" y="670"/>
                  <a:pt x="151" y="670"/>
                  <a:pt x="151" y="670"/>
                </a:cubicBezTo>
                <a:cubicBezTo>
                  <a:pt x="138" y="730"/>
                  <a:pt x="138" y="730"/>
                  <a:pt x="138" y="730"/>
                </a:cubicBezTo>
                <a:cubicBezTo>
                  <a:pt x="138" y="578"/>
                  <a:pt x="138" y="578"/>
                  <a:pt x="138" y="578"/>
                </a:cubicBezTo>
                <a:cubicBezTo>
                  <a:pt x="138" y="552"/>
                  <a:pt x="117" y="530"/>
                  <a:pt x="90" y="530"/>
                </a:cubicBezTo>
                <a:cubicBezTo>
                  <a:pt x="54" y="530"/>
                  <a:pt x="54" y="530"/>
                  <a:pt x="54" y="530"/>
                </a:cubicBezTo>
                <a:cubicBezTo>
                  <a:pt x="28" y="530"/>
                  <a:pt x="6" y="552"/>
                  <a:pt x="6" y="578"/>
                </a:cubicBezTo>
                <a:cubicBezTo>
                  <a:pt x="6" y="918"/>
                  <a:pt x="6" y="918"/>
                  <a:pt x="6" y="918"/>
                </a:cubicBezTo>
                <a:cubicBezTo>
                  <a:pt x="6" y="943"/>
                  <a:pt x="25" y="964"/>
                  <a:pt x="49" y="966"/>
                </a:cubicBezTo>
                <a:cubicBezTo>
                  <a:pt x="49" y="1125"/>
                  <a:pt x="49" y="1125"/>
                  <a:pt x="49" y="1125"/>
                </a:cubicBezTo>
                <a:cubicBezTo>
                  <a:pt x="48" y="1125"/>
                  <a:pt x="48" y="1125"/>
                  <a:pt x="48" y="1125"/>
                </a:cubicBezTo>
                <a:cubicBezTo>
                  <a:pt x="22" y="1125"/>
                  <a:pt x="0" y="1146"/>
                  <a:pt x="0" y="1173"/>
                </a:cubicBezTo>
                <a:close/>
                <a:moveTo>
                  <a:pt x="96" y="1084"/>
                </a:moveTo>
                <a:cubicBezTo>
                  <a:pt x="106" y="1101"/>
                  <a:pt x="121" y="1116"/>
                  <a:pt x="140" y="1125"/>
                </a:cubicBezTo>
                <a:cubicBezTo>
                  <a:pt x="96" y="1125"/>
                  <a:pt x="96" y="1125"/>
                  <a:pt x="96" y="1125"/>
                </a:cubicBezTo>
                <a:lnTo>
                  <a:pt x="96" y="1084"/>
                </a:lnTo>
                <a:close/>
                <a:moveTo>
                  <a:pt x="1084" y="1519"/>
                </a:moveTo>
                <a:cubicBezTo>
                  <a:pt x="824" y="1519"/>
                  <a:pt x="824" y="1519"/>
                  <a:pt x="824" y="1519"/>
                </a:cubicBezTo>
                <a:cubicBezTo>
                  <a:pt x="824" y="1618"/>
                  <a:pt x="824" y="1618"/>
                  <a:pt x="824" y="1618"/>
                </a:cubicBezTo>
                <a:cubicBezTo>
                  <a:pt x="1443" y="1618"/>
                  <a:pt x="1443" y="1618"/>
                  <a:pt x="1443" y="1618"/>
                </a:cubicBezTo>
                <a:cubicBezTo>
                  <a:pt x="1443" y="1519"/>
                  <a:pt x="1443" y="1519"/>
                  <a:pt x="1443" y="1519"/>
                </a:cubicBezTo>
                <a:cubicBezTo>
                  <a:pt x="1293" y="1519"/>
                  <a:pt x="1293" y="1519"/>
                  <a:pt x="1293" y="1519"/>
                </a:cubicBezTo>
                <a:cubicBezTo>
                  <a:pt x="1293" y="870"/>
                  <a:pt x="1293" y="870"/>
                  <a:pt x="1293" y="870"/>
                </a:cubicBezTo>
                <a:cubicBezTo>
                  <a:pt x="1443" y="870"/>
                  <a:pt x="1443" y="870"/>
                  <a:pt x="1443" y="870"/>
                </a:cubicBezTo>
                <a:cubicBezTo>
                  <a:pt x="1443" y="772"/>
                  <a:pt x="1443" y="772"/>
                  <a:pt x="1443" y="772"/>
                </a:cubicBezTo>
                <a:cubicBezTo>
                  <a:pt x="586" y="772"/>
                  <a:pt x="586" y="772"/>
                  <a:pt x="586" y="772"/>
                </a:cubicBezTo>
                <a:cubicBezTo>
                  <a:pt x="586" y="870"/>
                  <a:pt x="586" y="870"/>
                  <a:pt x="586" y="870"/>
                </a:cubicBezTo>
                <a:cubicBezTo>
                  <a:pt x="1084" y="870"/>
                  <a:pt x="1084" y="870"/>
                  <a:pt x="1084" y="870"/>
                </a:cubicBezTo>
                <a:lnTo>
                  <a:pt x="1084" y="15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57125" tIns="28565" rIns="57125" bIns="28565" numCol="1" anchor="t" anchorCtr="0" compatLnSpc="1"/>
          <a:lstStyle/>
          <a:p>
            <a:endParaRPr lang="en-US" dirty="0"/>
          </a:p>
        </p:txBody>
      </p:sp>
      <p:grpSp>
        <p:nvGrpSpPr>
          <p:cNvPr id="58" name="组合 57"/>
          <p:cNvGrpSpPr/>
          <p:nvPr/>
        </p:nvGrpSpPr>
        <p:grpSpPr>
          <a:xfrm>
            <a:off x="5232715" y="2057620"/>
            <a:ext cx="1715634" cy="545628"/>
            <a:chOff x="730474" y="5060899"/>
            <a:chExt cx="2494182" cy="79323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grpSp>
          <p:nvGrpSpPr>
            <p:cNvPr id="68" name="组合 67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81" name="六边形 8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79" name="六边形 78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0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70" name="组合 69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77" name="六边形 7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71" name="组合 70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75" name="六边形 74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72" name="组合 7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73" name="六边形 7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83" name="文本框 82"/>
          <p:cNvSpPr txBox="1"/>
          <p:nvPr/>
        </p:nvSpPr>
        <p:spPr>
          <a:xfrm>
            <a:off x="5372622" y="2824947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5866647" y="3282771"/>
            <a:ext cx="458705" cy="184283"/>
            <a:chOff x="7649018" y="3218533"/>
            <a:chExt cx="458705" cy="184283"/>
          </a:xfrm>
        </p:grpSpPr>
        <p:grpSp>
          <p:nvGrpSpPr>
            <p:cNvPr id="84" name="组合 83"/>
            <p:cNvGrpSpPr/>
            <p:nvPr/>
          </p:nvGrpSpPr>
          <p:grpSpPr>
            <a:xfrm>
              <a:off x="7649018" y="3218533"/>
              <a:ext cx="458705" cy="184283"/>
              <a:chOff x="11107842" y="6201641"/>
              <a:chExt cx="458705" cy="184283"/>
            </a:xfrm>
          </p:grpSpPr>
          <p:pic>
            <p:nvPicPr>
              <p:cNvPr id="85" name="图片 84"/>
              <p:cNvPicPr>
                <a:picLocks noChangeAspect="1"/>
              </p:cNvPicPr>
              <p:nvPr/>
            </p:nvPicPr>
            <p:blipFill rotWithShape="1">
              <a:blip r:embed="rId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t="52224" r="1" b="-1"/>
              <a:stretch>
                <a:fillRect/>
              </a:stretch>
            </p:blipFill>
            <p:spPr>
              <a:xfrm rot="5400000">
                <a:off x="11389028" y="6207852"/>
                <a:ext cx="183730" cy="171309"/>
              </a:xfrm>
              <a:prstGeom prst="rect">
                <a:avLst/>
              </a:prstGeom>
            </p:spPr>
          </p:pic>
          <p:pic>
            <p:nvPicPr>
              <p:cNvPr id="86" name="图片 85"/>
              <p:cNvPicPr>
                <a:picLocks noChangeAspect="1"/>
              </p:cNvPicPr>
              <p:nvPr/>
            </p:nvPicPr>
            <p:blipFill rotWithShape="1">
              <a:blip r:embed="rId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t="52224" r="1" b="-1"/>
              <a:stretch>
                <a:fillRect/>
              </a:stretch>
            </p:blipFill>
            <p:spPr>
              <a:xfrm rot="16200000" flipH="1">
                <a:off x="11101633" y="6207852"/>
                <a:ext cx="183727" cy="171309"/>
              </a:xfrm>
              <a:prstGeom prst="rect">
                <a:avLst/>
              </a:prstGeom>
            </p:spPr>
          </p:pic>
          <p:sp>
            <p:nvSpPr>
              <p:cNvPr id="87" name="六边形 86"/>
              <p:cNvSpPr/>
              <p:nvPr/>
            </p:nvSpPr>
            <p:spPr>
              <a:xfrm>
                <a:off x="11225996" y="6201641"/>
                <a:ext cx="216889" cy="184283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90" name="Freeform 82"/>
            <p:cNvSpPr/>
            <p:nvPr/>
          </p:nvSpPr>
          <p:spPr bwMode="auto">
            <a:xfrm>
              <a:off x="7815177" y="3233811"/>
              <a:ext cx="124306" cy="149319"/>
            </a:xfrm>
            <a:custGeom>
              <a:avLst/>
              <a:gdLst>
                <a:gd name="T0" fmla="*/ 332 w 332"/>
                <a:gd name="T1" fmla="*/ 266 h 399"/>
                <a:gd name="T2" fmla="*/ 332 w 332"/>
                <a:gd name="T3" fmla="*/ 199 h 399"/>
                <a:gd name="T4" fmla="*/ 200 w 332"/>
                <a:gd name="T5" fmla="*/ 134 h 399"/>
                <a:gd name="T6" fmla="*/ 199 w 332"/>
                <a:gd name="T7" fmla="*/ 134 h 399"/>
                <a:gd name="T8" fmla="*/ 199 w 332"/>
                <a:gd name="T9" fmla="*/ 32 h 399"/>
                <a:gd name="T10" fmla="*/ 199 w 332"/>
                <a:gd name="T11" fmla="*/ 32 h 399"/>
                <a:gd name="T12" fmla="*/ 166 w 332"/>
                <a:gd name="T13" fmla="*/ 0 h 399"/>
                <a:gd name="T14" fmla="*/ 133 w 332"/>
                <a:gd name="T15" fmla="*/ 32 h 399"/>
                <a:gd name="T16" fmla="*/ 133 w 332"/>
                <a:gd name="T17" fmla="*/ 32 h 399"/>
                <a:gd name="T18" fmla="*/ 133 w 332"/>
                <a:gd name="T19" fmla="*/ 134 h 399"/>
                <a:gd name="T20" fmla="*/ 0 w 332"/>
                <a:gd name="T21" fmla="*/ 199 h 399"/>
                <a:gd name="T22" fmla="*/ 0 w 332"/>
                <a:gd name="T23" fmla="*/ 266 h 399"/>
                <a:gd name="T24" fmla="*/ 133 w 332"/>
                <a:gd name="T25" fmla="*/ 213 h 399"/>
                <a:gd name="T26" fmla="*/ 133 w 332"/>
                <a:gd name="T27" fmla="*/ 328 h 399"/>
                <a:gd name="T28" fmla="*/ 99 w 332"/>
                <a:gd name="T29" fmla="*/ 354 h 399"/>
                <a:gd name="T30" fmla="*/ 99 w 332"/>
                <a:gd name="T31" fmla="*/ 399 h 399"/>
                <a:gd name="T32" fmla="*/ 166 w 332"/>
                <a:gd name="T33" fmla="*/ 365 h 399"/>
                <a:gd name="T34" fmla="*/ 232 w 332"/>
                <a:gd name="T35" fmla="*/ 399 h 399"/>
                <a:gd name="T36" fmla="*/ 232 w 332"/>
                <a:gd name="T37" fmla="*/ 354 h 399"/>
                <a:gd name="T38" fmla="*/ 199 w 332"/>
                <a:gd name="T39" fmla="*/ 329 h 399"/>
                <a:gd name="T40" fmla="*/ 199 w 332"/>
                <a:gd name="T41" fmla="*/ 213 h 399"/>
                <a:gd name="T42" fmla="*/ 332 w 332"/>
                <a:gd name="T43" fmla="*/ 266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2" h="399">
                  <a:moveTo>
                    <a:pt x="332" y="266"/>
                  </a:moveTo>
                  <a:cubicBezTo>
                    <a:pt x="332" y="199"/>
                    <a:pt x="332" y="199"/>
                    <a:pt x="332" y="199"/>
                  </a:cubicBezTo>
                  <a:cubicBezTo>
                    <a:pt x="200" y="134"/>
                    <a:pt x="200" y="134"/>
                    <a:pt x="200" y="134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9" y="32"/>
                    <a:pt x="199" y="32"/>
                    <a:pt x="199" y="32"/>
                  </a:cubicBezTo>
                  <a:cubicBezTo>
                    <a:pt x="199" y="32"/>
                    <a:pt x="199" y="32"/>
                    <a:pt x="199" y="32"/>
                  </a:cubicBezTo>
                  <a:cubicBezTo>
                    <a:pt x="198" y="14"/>
                    <a:pt x="184" y="0"/>
                    <a:pt x="166" y="0"/>
                  </a:cubicBezTo>
                  <a:cubicBezTo>
                    <a:pt x="148" y="0"/>
                    <a:pt x="133" y="14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134"/>
                    <a:pt x="133" y="134"/>
                    <a:pt x="133" y="134"/>
                  </a:cubicBezTo>
                  <a:cubicBezTo>
                    <a:pt x="119" y="137"/>
                    <a:pt x="0" y="199"/>
                    <a:pt x="0" y="199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133" y="213"/>
                    <a:pt x="133" y="213"/>
                    <a:pt x="133" y="213"/>
                  </a:cubicBezTo>
                  <a:cubicBezTo>
                    <a:pt x="133" y="328"/>
                    <a:pt x="133" y="328"/>
                    <a:pt x="133" y="328"/>
                  </a:cubicBezTo>
                  <a:cubicBezTo>
                    <a:pt x="119" y="338"/>
                    <a:pt x="99" y="354"/>
                    <a:pt x="99" y="354"/>
                  </a:cubicBezTo>
                  <a:cubicBezTo>
                    <a:pt x="99" y="399"/>
                    <a:pt x="99" y="399"/>
                    <a:pt x="99" y="399"/>
                  </a:cubicBezTo>
                  <a:cubicBezTo>
                    <a:pt x="166" y="365"/>
                    <a:pt x="166" y="365"/>
                    <a:pt x="166" y="365"/>
                  </a:cubicBezTo>
                  <a:cubicBezTo>
                    <a:pt x="232" y="399"/>
                    <a:pt x="232" y="399"/>
                    <a:pt x="232" y="399"/>
                  </a:cubicBezTo>
                  <a:cubicBezTo>
                    <a:pt x="232" y="354"/>
                    <a:pt x="232" y="354"/>
                    <a:pt x="232" y="354"/>
                  </a:cubicBezTo>
                  <a:cubicBezTo>
                    <a:pt x="199" y="329"/>
                    <a:pt x="199" y="329"/>
                    <a:pt x="199" y="329"/>
                  </a:cubicBezTo>
                  <a:cubicBezTo>
                    <a:pt x="199" y="213"/>
                    <a:pt x="199" y="213"/>
                    <a:pt x="199" y="213"/>
                  </a:cubicBezTo>
                  <a:lnTo>
                    <a:pt x="332" y="26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71" tIns="34286" rIns="68571" bIns="34286" numCol="1" anchor="t" anchorCtr="0" compatLnSpc="1"/>
            <a:lstStyle/>
            <a:p>
              <a:endParaRPr lang="en-US"/>
            </a:p>
          </p:txBody>
        </p:sp>
      </p:grpSp>
      <p:sp>
        <p:nvSpPr>
          <p:cNvPr id="67" name="矩形 66"/>
          <p:cNvSpPr/>
          <p:nvPr/>
        </p:nvSpPr>
        <p:spPr>
          <a:xfrm>
            <a:off x="3099432" y="3689937"/>
            <a:ext cx="6096000" cy="184665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altLang="zh-CN" sz="2000" dirty="0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Lyon - </a:t>
            </a:r>
            <a:r>
              <a:rPr lang="en-US" altLang="zh-CN" sz="2000" dirty="0" err="1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Dubaï</a:t>
            </a:r>
            <a:r>
              <a:rPr lang="en-US" altLang="zh-CN" sz="2000" dirty="0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 - Worldwide</a:t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For a top of the range, made-to-measure aquarium.</a:t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Whatever your location.</a:t>
            </a: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7, rue Robert </a:t>
            </a:r>
            <a:r>
              <a:rPr lang="en-US" altLang="zh-CN" dirty="0" err="1">
                <a:solidFill>
                  <a:srgbClr val="FFFFFF"/>
                </a:solidFill>
              </a:rPr>
              <a:t>Reynier</a:t>
            </a:r>
            <a:r>
              <a:rPr lang="en-US" altLang="zh-CN" dirty="0">
                <a:solidFill>
                  <a:srgbClr val="FFFFFF"/>
                </a:solidFill>
              </a:rPr>
              <a:t> - 69190 Saint </a:t>
            </a:r>
            <a:r>
              <a:rPr lang="en-US" altLang="zh-CN" dirty="0" err="1">
                <a:solidFill>
                  <a:srgbClr val="FFFFFF"/>
                </a:solidFill>
              </a:rPr>
              <a:t>Fons</a:t>
            </a:r>
            <a:r>
              <a:rPr lang="en-US" altLang="zh-CN" dirty="0">
                <a:solidFill>
                  <a:srgbClr val="FFFFFF"/>
                </a:solidFill>
              </a:rPr>
              <a:t>, France</a:t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+33 (</a:t>
            </a:r>
            <a:r>
              <a:rPr lang="en-US" altLang="zh-CN" dirty="0" smtClean="0">
                <a:solidFill>
                  <a:srgbClr val="FFFFFF"/>
                </a:solidFill>
              </a:rPr>
              <a:t>0)123 456 789// </a:t>
            </a:r>
            <a:r>
              <a:rPr lang="en-US" altLang="zh-CN" dirty="0">
                <a:solidFill>
                  <a:srgbClr val="FFFFFF"/>
                </a:solidFill>
              </a:rPr>
              <a:t>+33 (</a:t>
            </a:r>
            <a:r>
              <a:rPr lang="en-US" altLang="zh-CN" dirty="0" smtClean="0">
                <a:solidFill>
                  <a:srgbClr val="FFFFFF"/>
                </a:solidFill>
              </a:rPr>
              <a:t>0)123 456 789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 53"/>
          <p:cNvSpPr>
            <a:spLocks noEditPoints="1"/>
          </p:cNvSpPr>
          <p:nvPr/>
        </p:nvSpPr>
        <p:spPr bwMode="black">
          <a:xfrm>
            <a:off x="4116994" y="2706457"/>
            <a:ext cx="780354" cy="880657"/>
          </a:xfrm>
          <a:custGeom>
            <a:avLst/>
            <a:gdLst>
              <a:gd name="T0" fmla="*/ 466 w 1443"/>
              <a:gd name="T1" fmla="*/ 0 h 1627"/>
              <a:gd name="T2" fmla="*/ 466 w 1443"/>
              <a:gd name="T3" fmla="*/ 294 h 1627"/>
              <a:gd name="T4" fmla="*/ 0 w 1443"/>
              <a:gd name="T5" fmla="*/ 1173 h 1627"/>
              <a:gd name="T6" fmla="*/ 48 w 1443"/>
              <a:gd name="T7" fmla="*/ 1230 h 1627"/>
              <a:gd name="T8" fmla="*/ 186 w 1443"/>
              <a:gd name="T9" fmla="*/ 1363 h 1627"/>
              <a:gd name="T10" fmla="*/ 210 w 1443"/>
              <a:gd name="T11" fmla="*/ 1455 h 1627"/>
              <a:gd name="T12" fmla="*/ 31 w 1443"/>
              <a:gd name="T13" fmla="*/ 1545 h 1627"/>
              <a:gd name="T14" fmla="*/ 49 w 1443"/>
              <a:gd name="T15" fmla="*/ 1554 h 1627"/>
              <a:gd name="T16" fmla="*/ 61 w 1443"/>
              <a:gd name="T17" fmla="*/ 1620 h 1627"/>
              <a:gd name="T18" fmla="*/ 73 w 1443"/>
              <a:gd name="T19" fmla="*/ 1553 h 1627"/>
              <a:gd name="T20" fmla="*/ 210 w 1443"/>
              <a:gd name="T21" fmla="*/ 1525 h 1627"/>
              <a:gd name="T22" fmla="*/ 215 w 1443"/>
              <a:gd name="T23" fmla="*/ 1537 h 1627"/>
              <a:gd name="T24" fmla="*/ 228 w 1443"/>
              <a:gd name="T25" fmla="*/ 1594 h 1627"/>
              <a:gd name="T26" fmla="*/ 258 w 1443"/>
              <a:gd name="T27" fmla="*/ 1627 h 1627"/>
              <a:gd name="T28" fmla="*/ 271 w 1443"/>
              <a:gd name="T29" fmla="*/ 1594 h 1627"/>
              <a:gd name="T30" fmla="*/ 276 w 1443"/>
              <a:gd name="T31" fmla="*/ 1537 h 1627"/>
              <a:gd name="T32" fmla="*/ 411 w 1443"/>
              <a:gd name="T33" fmla="*/ 1541 h 1627"/>
              <a:gd name="T34" fmla="*/ 388 w 1443"/>
              <a:gd name="T35" fmla="*/ 1586 h 1627"/>
              <a:gd name="T36" fmla="*/ 457 w 1443"/>
              <a:gd name="T37" fmla="*/ 1586 h 1627"/>
              <a:gd name="T38" fmla="*/ 435 w 1443"/>
              <a:gd name="T39" fmla="*/ 1543 h 1627"/>
              <a:gd name="T40" fmla="*/ 452 w 1443"/>
              <a:gd name="T41" fmla="*/ 1504 h 1627"/>
              <a:gd name="T42" fmla="*/ 276 w 1443"/>
              <a:gd name="T43" fmla="*/ 1363 h 1627"/>
              <a:gd name="T44" fmla="*/ 299 w 1443"/>
              <a:gd name="T45" fmla="*/ 1230 h 1627"/>
              <a:gd name="T46" fmla="*/ 514 w 1443"/>
              <a:gd name="T47" fmla="*/ 1182 h 1627"/>
              <a:gd name="T48" fmla="*/ 494 w 1443"/>
              <a:gd name="T49" fmla="*/ 1134 h 1627"/>
              <a:gd name="T50" fmla="*/ 538 w 1443"/>
              <a:gd name="T51" fmla="*/ 1491 h 1627"/>
              <a:gd name="T52" fmla="*/ 722 w 1443"/>
              <a:gd name="T53" fmla="*/ 1528 h 1627"/>
              <a:gd name="T54" fmla="*/ 816 w 1443"/>
              <a:gd name="T55" fmla="*/ 1053 h 1627"/>
              <a:gd name="T56" fmla="*/ 817 w 1443"/>
              <a:gd name="T57" fmla="*/ 1052 h 1627"/>
              <a:gd name="T58" fmla="*/ 818 w 1443"/>
              <a:gd name="T59" fmla="*/ 1027 h 1627"/>
              <a:gd name="T60" fmla="*/ 439 w 1443"/>
              <a:gd name="T61" fmla="*/ 938 h 1627"/>
              <a:gd name="T62" fmla="*/ 820 w 1443"/>
              <a:gd name="T63" fmla="*/ 772 h 1627"/>
              <a:gd name="T64" fmla="*/ 1231 w 1443"/>
              <a:gd name="T65" fmla="*/ 760 h 1627"/>
              <a:gd name="T66" fmla="*/ 1245 w 1443"/>
              <a:gd name="T67" fmla="*/ 707 h 1627"/>
              <a:gd name="T68" fmla="*/ 1428 w 1443"/>
              <a:gd name="T69" fmla="*/ 267 h 1627"/>
              <a:gd name="T70" fmla="*/ 1235 w 1443"/>
              <a:gd name="T71" fmla="*/ 687 h 1627"/>
              <a:gd name="T72" fmla="*/ 1215 w 1443"/>
              <a:gd name="T73" fmla="*/ 700 h 1627"/>
              <a:gd name="T74" fmla="*/ 898 w 1443"/>
              <a:gd name="T75" fmla="*/ 693 h 1627"/>
              <a:gd name="T76" fmla="*/ 507 w 1443"/>
              <a:gd name="T77" fmla="*/ 615 h 1627"/>
              <a:gd name="T78" fmla="*/ 415 w 1443"/>
              <a:gd name="T79" fmla="*/ 354 h 1627"/>
              <a:gd name="T80" fmla="*/ 196 w 1443"/>
              <a:gd name="T81" fmla="*/ 456 h 1627"/>
              <a:gd name="T82" fmla="*/ 138 w 1443"/>
              <a:gd name="T83" fmla="*/ 730 h 1627"/>
              <a:gd name="T84" fmla="*/ 90 w 1443"/>
              <a:gd name="T85" fmla="*/ 530 h 1627"/>
              <a:gd name="T86" fmla="*/ 6 w 1443"/>
              <a:gd name="T87" fmla="*/ 578 h 1627"/>
              <a:gd name="T88" fmla="*/ 49 w 1443"/>
              <a:gd name="T89" fmla="*/ 966 h 1627"/>
              <a:gd name="T90" fmla="*/ 48 w 1443"/>
              <a:gd name="T91" fmla="*/ 1125 h 1627"/>
              <a:gd name="T92" fmla="*/ 96 w 1443"/>
              <a:gd name="T93" fmla="*/ 1084 h 1627"/>
              <a:gd name="T94" fmla="*/ 96 w 1443"/>
              <a:gd name="T95" fmla="*/ 1125 h 1627"/>
              <a:gd name="T96" fmla="*/ 1084 w 1443"/>
              <a:gd name="T97" fmla="*/ 1519 h 1627"/>
              <a:gd name="T98" fmla="*/ 824 w 1443"/>
              <a:gd name="T99" fmla="*/ 1618 h 1627"/>
              <a:gd name="T100" fmla="*/ 1443 w 1443"/>
              <a:gd name="T101" fmla="*/ 1519 h 1627"/>
              <a:gd name="T102" fmla="*/ 1293 w 1443"/>
              <a:gd name="T103" fmla="*/ 870 h 1627"/>
              <a:gd name="T104" fmla="*/ 1443 w 1443"/>
              <a:gd name="T105" fmla="*/ 772 h 1627"/>
              <a:gd name="T106" fmla="*/ 586 w 1443"/>
              <a:gd name="T107" fmla="*/ 870 h 1627"/>
              <a:gd name="T108" fmla="*/ 1084 w 1443"/>
              <a:gd name="T109" fmla="*/ 1519 h 1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" h="1627">
                <a:moveTo>
                  <a:pt x="613" y="147"/>
                </a:moveTo>
                <a:cubicBezTo>
                  <a:pt x="613" y="65"/>
                  <a:pt x="547" y="0"/>
                  <a:pt x="466" y="0"/>
                </a:cubicBezTo>
                <a:cubicBezTo>
                  <a:pt x="385" y="0"/>
                  <a:pt x="319" y="65"/>
                  <a:pt x="319" y="147"/>
                </a:cubicBezTo>
                <a:cubicBezTo>
                  <a:pt x="319" y="228"/>
                  <a:pt x="385" y="294"/>
                  <a:pt x="466" y="294"/>
                </a:cubicBezTo>
                <a:cubicBezTo>
                  <a:pt x="547" y="294"/>
                  <a:pt x="613" y="228"/>
                  <a:pt x="613" y="147"/>
                </a:cubicBezTo>
                <a:close/>
                <a:moveTo>
                  <a:pt x="0" y="1173"/>
                </a:moveTo>
                <a:cubicBezTo>
                  <a:pt x="0" y="1182"/>
                  <a:pt x="0" y="1182"/>
                  <a:pt x="0" y="1182"/>
                </a:cubicBezTo>
                <a:cubicBezTo>
                  <a:pt x="0" y="1208"/>
                  <a:pt x="22" y="1230"/>
                  <a:pt x="48" y="1230"/>
                </a:cubicBezTo>
                <a:cubicBezTo>
                  <a:pt x="186" y="1230"/>
                  <a:pt x="186" y="1230"/>
                  <a:pt x="186" y="1230"/>
                </a:cubicBezTo>
                <a:cubicBezTo>
                  <a:pt x="186" y="1363"/>
                  <a:pt x="186" y="1363"/>
                  <a:pt x="186" y="1363"/>
                </a:cubicBezTo>
                <a:cubicBezTo>
                  <a:pt x="210" y="1363"/>
                  <a:pt x="210" y="1363"/>
                  <a:pt x="210" y="1363"/>
                </a:cubicBezTo>
                <a:cubicBezTo>
                  <a:pt x="210" y="1455"/>
                  <a:pt x="210" y="1455"/>
                  <a:pt x="210" y="1455"/>
                </a:cubicBezTo>
                <a:cubicBezTo>
                  <a:pt x="31" y="1504"/>
                  <a:pt x="31" y="1504"/>
                  <a:pt x="31" y="1504"/>
                </a:cubicBezTo>
                <a:cubicBezTo>
                  <a:pt x="31" y="1545"/>
                  <a:pt x="31" y="1545"/>
                  <a:pt x="31" y="1545"/>
                </a:cubicBezTo>
                <a:cubicBezTo>
                  <a:pt x="49" y="1543"/>
                  <a:pt x="49" y="1543"/>
                  <a:pt x="49" y="1543"/>
                </a:cubicBezTo>
                <a:cubicBezTo>
                  <a:pt x="49" y="1554"/>
                  <a:pt x="49" y="1554"/>
                  <a:pt x="49" y="1554"/>
                </a:cubicBezTo>
                <a:cubicBezTo>
                  <a:pt x="36" y="1558"/>
                  <a:pt x="26" y="1571"/>
                  <a:pt x="26" y="1586"/>
                </a:cubicBezTo>
                <a:cubicBezTo>
                  <a:pt x="26" y="1605"/>
                  <a:pt x="42" y="1620"/>
                  <a:pt x="61" y="1620"/>
                </a:cubicBezTo>
                <a:cubicBezTo>
                  <a:pt x="80" y="1620"/>
                  <a:pt x="95" y="1605"/>
                  <a:pt x="95" y="1586"/>
                </a:cubicBezTo>
                <a:cubicBezTo>
                  <a:pt x="95" y="1571"/>
                  <a:pt x="86" y="1558"/>
                  <a:pt x="73" y="1553"/>
                </a:cubicBezTo>
                <a:cubicBezTo>
                  <a:pt x="73" y="1541"/>
                  <a:pt x="73" y="1541"/>
                  <a:pt x="73" y="1541"/>
                </a:cubicBezTo>
                <a:cubicBezTo>
                  <a:pt x="210" y="1525"/>
                  <a:pt x="210" y="1525"/>
                  <a:pt x="210" y="1525"/>
                </a:cubicBezTo>
                <a:cubicBezTo>
                  <a:pt x="210" y="1537"/>
                  <a:pt x="210" y="1537"/>
                  <a:pt x="210" y="1537"/>
                </a:cubicBezTo>
                <a:cubicBezTo>
                  <a:pt x="215" y="1537"/>
                  <a:pt x="215" y="1537"/>
                  <a:pt x="215" y="1537"/>
                </a:cubicBezTo>
                <a:cubicBezTo>
                  <a:pt x="215" y="1594"/>
                  <a:pt x="215" y="1594"/>
                  <a:pt x="215" y="1594"/>
                </a:cubicBezTo>
                <a:cubicBezTo>
                  <a:pt x="228" y="1594"/>
                  <a:pt x="228" y="1594"/>
                  <a:pt x="228" y="1594"/>
                </a:cubicBezTo>
                <a:cubicBezTo>
                  <a:pt x="228" y="1627"/>
                  <a:pt x="228" y="1627"/>
                  <a:pt x="228" y="1627"/>
                </a:cubicBezTo>
                <a:cubicBezTo>
                  <a:pt x="258" y="1627"/>
                  <a:pt x="258" y="1627"/>
                  <a:pt x="258" y="1627"/>
                </a:cubicBezTo>
                <a:cubicBezTo>
                  <a:pt x="258" y="1594"/>
                  <a:pt x="258" y="1594"/>
                  <a:pt x="258" y="1594"/>
                </a:cubicBezTo>
                <a:cubicBezTo>
                  <a:pt x="271" y="1594"/>
                  <a:pt x="271" y="1594"/>
                  <a:pt x="271" y="1594"/>
                </a:cubicBezTo>
                <a:cubicBezTo>
                  <a:pt x="271" y="1537"/>
                  <a:pt x="271" y="1537"/>
                  <a:pt x="271" y="1537"/>
                </a:cubicBezTo>
                <a:cubicBezTo>
                  <a:pt x="276" y="1537"/>
                  <a:pt x="276" y="1537"/>
                  <a:pt x="276" y="1537"/>
                </a:cubicBezTo>
                <a:cubicBezTo>
                  <a:pt x="276" y="1525"/>
                  <a:pt x="276" y="1525"/>
                  <a:pt x="276" y="1525"/>
                </a:cubicBezTo>
                <a:cubicBezTo>
                  <a:pt x="411" y="1541"/>
                  <a:pt x="411" y="1541"/>
                  <a:pt x="411" y="1541"/>
                </a:cubicBezTo>
                <a:cubicBezTo>
                  <a:pt x="411" y="1553"/>
                  <a:pt x="411" y="1553"/>
                  <a:pt x="411" y="1553"/>
                </a:cubicBezTo>
                <a:cubicBezTo>
                  <a:pt x="398" y="1558"/>
                  <a:pt x="388" y="1571"/>
                  <a:pt x="388" y="1586"/>
                </a:cubicBezTo>
                <a:cubicBezTo>
                  <a:pt x="388" y="1605"/>
                  <a:pt x="404" y="1620"/>
                  <a:pt x="423" y="1620"/>
                </a:cubicBezTo>
                <a:cubicBezTo>
                  <a:pt x="442" y="1620"/>
                  <a:pt x="457" y="1605"/>
                  <a:pt x="457" y="1586"/>
                </a:cubicBezTo>
                <a:cubicBezTo>
                  <a:pt x="457" y="1571"/>
                  <a:pt x="448" y="1558"/>
                  <a:pt x="435" y="1554"/>
                </a:cubicBezTo>
                <a:cubicBezTo>
                  <a:pt x="435" y="1543"/>
                  <a:pt x="435" y="1543"/>
                  <a:pt x="435" y="1543"/>
                </a:cubicBezTo>
                <a:cubicBezTo>
                  <a:pt x="452" y="1545"/>
                  <a:pt x="452" y="1545"/>
                  <a:pt x="452" y="1545"/>
                </a:cubicBezTo>
                <a:cubicBezTo>
                  <a:pt x="452" y="1504"/>
                  <a:pt x="452" y="1504"/>
                  <a:pt x="452" y="1504"/>
                </a:cubicBezTo>
                <a:cubicBezTo>
                  <a:pt x="276" y="1456"/>
                  <a:pt x="276" y="1456"/>
                  <a:pt x="276" y="1456"/>
                </a:cubicBezTo>
                <a:cubicBezTo>
                  <a:pt x="276" y="1363"/>
                  <a:pt x="276" y="1363"/>
                  <a:pt x="276" y="1363"/>
                </a:cubicBezTo>
                <a:cubicBezTo>
                  <a:pt x="299" y="1363"/>
                  <a:pt x="299" y="1363"/>
                  <a:pt x="299" y="1363"/>
                </a:cubicBezTo>
                <a:cubicBezTo>
                  <a:pt x="299" y="1230"/>
                  <a:pt x="299" y="1230"/>
                  <a:pt x="299" y="1230"/>
                </a:cubicBezTo>
                <a:cubicBezTo>
                  <a:pt x="466" y="1230"/>
                  <a:pt x="466" y="1230"/>
                  <a:pt x="466" y="1230"/>
                </a:cubicBezTo>
                <a:cubicBezTo>
                  <a:pt x="493" y="1230"/>
                  <a:pt x="514" y="1208"/>
                  <a:pt x="514" y="1182"/>
                </a:cubicBezTo>
                <a:cubicBezTo>
                  <a:pt x="514" y="1173"/>
                  <a:pt x="514" y="1173"/>
                  <a:pt x="514" y="1173"/>
                </a:cubicBezTo>
                <a:cubicBezTo>
                  <a:pt x="514" y="1157"/>
                  <a:pt x="506" y="1143"/>
                  <a:pt x="494" y="1134"/>
                </a:cubicBezTo>
                <a:cubicBezTo>
                  <a:pt x="609" y="1134"/>
                  <a:pt x="609" y="1134"/>
                  <a:pt x="609" y="1134"/>
                </a:cubicBezTo>
                <a:cubicBezTo>
                  <a:pt x="538" y="1491"/>
                  <a:pt x="538" y="1491"/>
                  <a:pt x="538" y="1491"/>
                </a:cubicBezTo>
                <a:cubicBezTo>
                  <a:pt x="528" y="1539"/>
                  <a:pt x="562" y="1586"/>
                  <a:pt x="613" y="1596"/>
                </a:cubicBezTo>
                <a:cubicBezTo>
                  <a:pt x="664" y="1606"/>
                  <a:pt x="713" y="1576"/>
                  <a:pt x="722" y="1528"/>
                </a:cubicBezTo>
                <a:cubicBezTo>
                  <a:pt x="816" y="1057"/>
                  <a:pt x="816" y="1057"/>
                  <a:pt x="816" y="1057"/>
                </a:cubicBezTo>
                <a:cubicBezTo>
                  <a:pt x="816" y="1056"/>
                  <a:pt x="816" y="1054"/>
                  <a:pt x="816" y="1053"/>
                </a:cubicBezTo>
                <a:cubicBezTo>
                  <a:pt x="816" y="1053"/>
                  <a:pt x="816" y="1053"/>
                  <a:pt x="816" y="1053"/>
                </a:cubicBezTo>
                <a:cubicBezTo>
                  <a:pt x="817" y="1053"/>
                  <a:pt x="817" y="1052"/>
                  <a:pt x="817" y="1052"/>
                </a:cubicBezTo>
                <a:cubicBezTo>
                  <a:pt x="817" y="1051"/>
                  <a:pt x="817" y="1051"/>
                  <a:pt x="817" y="1051"/>
                </a:cubicBezTo>
                <a:cubicBezTo>
                  <a:pt x="818" y="1043"/>
                  <a:pt x="818" y="1035"/>
                  <a:pt x="818" y="1027"/>
                </a:cubicBezTo>
                <a:cubicBezTo>
                  <a:pt x="813" y="977"/>
                  <a:pt x="771" y="938"/>
                  <a:pt x="720" y="938"/>
                </a:cubicBezTo>
                <a:cubicBezTo>
                  <a:pt x="439" y="938"/>
                  <a:pt x="439" y="938"/>
                  <a:pt x="439" y="938"/>
                </a:cubicBezTo>
                <a:cubicBezTo>
                  <a:pt x="474" y="772"/>
                  <a:pt x="474" y="772"/>
                  <a:pt x="474" y="772"/>
                </a:cubicBezTo>
                <a:cubicBezTo>
                  <a:pt x="820" y="772"/>
                  <a:pt x="820" y="772"/>
                  <a:pt x="820" y="772"/>
                </a:cubicBezTo>
                <a:cubicBezTo>
                  <a:pt x="835" y="772"/>
                  <a:pt x="849" y="767"/>
                  <a:pt x="861" y="760"/>
                </a:cubicBezTo>
                <a:cubicBezTo>
                  <a:pt x="1231" y="760"/>
                  <a:pt x="1231" y="760"/>
                  <a:pt x="1231" y="760"/>
                </a:cubicBezTo>
                <a:cubicBezTo>
                  <a:pt x="1231" y="717"/>
                  <a:pt x="1231" y="717"/>
                  <a:pt x="1231" y="717"/>
                </a:cubicBezTo>
                <a:cubicBezTo>
                  <a:pt x="1238" y="717"/>
                  <a:pt x="1251" y="709"/>
                  <a:pt x="1245" y="707"/>
                </a:cubicBezTo>
                <a:cubicBezTo>
                  <a:pt x="1258" y="712"/>
                  <a:pt x="1258" y="712"/>
                  <a:pt x="1258" y="712"/>
                </a:cubicBezTo>
                <a:cubicBezTo>
                  <a:pt x="1427" y="272"/>
                  <a:pt x="1255" y="721"/>
                  <a:pt x="1428" y="267"/>
                </a:cubicBezTo>
                <a:cubicBezTo>
                  <a:pt x="1372" y="246"/>
                  <a:pt x="1400" y="256"/>
                  <a:pt x="1400" y="25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4" y="686"/>
                  <a:pt x="1232" y="686"/>
                  <a:pt x="1231" y="686"/>
                </a:cubicBezTo>
                <a:cubicBezTo>
                  <a:pt x="1223" y="686"/>
                  <a:pt x="1216" y="692"/>
                  <a:pt x="1215" y="700"/>
                </a:cubicBezTo>
                <a:cubicBezTo>
                  <a:pt x="898" y="700"/>
                  <a:pt x="898" y="700"/>
                  <a:pt x="898" y="700"/>
                </a:cubicBezTo>
                <a:cubicBezTo>
                  <a:pt x="898" y="698"/>
                  <a:pt x="898" y="695"/>
                  <a:pt x="898" y="693"/>
                </a:cubicBezTo>
                <a:cubicBezTo>
                  <a:pt x="898" y="650"/>
                  <a:pt x="863" y="615"/>
                  <a:pt x="820" y="615"/>
                </a:cubicBezTo>
                <a:cubicBezTo>
                  <a:pt x="507" y="615"/>
                  <a:pt x="507" y="615"/>
                  <a:pt x="507" y="615"/>
                </a:cubicBezTo>
                <a:cubicBezTo>
                  <a:pt x="526" y="525"/>
                  <a:pt x="526" y="525"/>
                  <a:pt x="526" y="525"/>
                </a:cubicBezTo>
                <a:cubicBezTo>
                  <a:pt x="542" y="447"/>
                  <a:pt x="492" y="371"/>
                  <a:pt x="415" y="354"/>
                </a:cubicBezTo>
                <a:cubicBezTo>
                  <a:pt x="367" y="344"/>
                  <a:pt x="367" y="344"/>
                  <a:pt x="367" y="344"/>
                </a:cubicBezTo>
                <a:cubicBezTo>
                  <a:pt x="289" y="328"/>
                  <a:pt x="213" y="378"/>
                  <a:pt x="196" y="456"/>
                </a:cubicBezTo>
                <a:cubicBezTo>
                  <a:pt x="151" y="670"/>
                  <a:pt x="151" y="670"/>
                  <a:pt x="151" y="670"/>
                </a:cubicBezTo>
                <a:cubicBezTo>
                  <a:pt x="138" y="730"/>
                  <a:pt x="138" y="730"/>
                  <a:pt x="138" y="730"/>
                </a:cubicBezTo>
                <a:cubicBezTo>
                  <a:pt x="138" y="578"/>
                  <a:pt x="138" y="578"/>
                  <a:pt x="138" y="578"/>
                </a:cubicBezTo>
                <a:cubicBezTo>
                  <a:pt x="138" y="552"/>
                  <a:pt x="117" y="530"/>
                  <a:pt x="90" y="530"/>
                </a:cubicBezTo>
                <a:cubicBezTo>
                  <a:pt x="54" y="530"/>
                  <a:pt x="54" y="530"/>
                  <a:pt x="54" y="530"/>
                </a:cubicBezTo>
                <a:cubicBezTo>
                  <a:pt x="28" y="530"/>
                  <a:pt x="6" y="552"/>
                  <a:pt x="6" y="578"/>
                </a:cubicBezTo>
                <a:cubicBezTo>
                  <a:pt x="6" y="918"/>
                  <a:pt x="6" y="918"/>
                  <a:pt x="6" y="918"/>
                </a:cubicBezTo>
                <a:cubicBezTo>
                  <a:pt x="6" y="943"/>
                  <a:pt x="25" y="964"/>
                  <a:pt x="49" y="966"/>
                </a:cubicBezTo>
                <a:cubicBezTo>
                  <a:pt x="49" y="1125"/>
                  <a:pt x="49" y="1125"/>
                  <a:pt x="49" y="1125"/>
                </a:cubicBezTo>
                <a:cubicBezTo>
                  <a:pt x="48" y="1125"/>
                  <a:pt x="48" y="1125"/>
                  <a:pt x="48" y="1125"/>
                </a:cubicBezTo>
                <a:cubicBezTo>
                  <a:pt x="22" y="1125"/>
                  <a:pt x="0" y="1146"/>
                  <a:pt x="0" y="1173"/>
                </a:cubicBezTo>
                <a:close/>
                <a:moveTo>
                  <a:pt x="96" y="1084"/>
                </a:moveTo>
                <a:cubicBezTo>
                  <a:pt x="106" y="1101"/>
                  <a:pt x="121" y="1116"/>
                  <a:pt x="140" y="1125"/>
                </a:cubicBezTo>
                <a:cubicBezTo>
                  <a:pt x="96" y="1125"/>
                  <a:pt x="96" y="1125"/>
                  <a:pt x="96" y="1125"/>
                </a:cubicBezTo>
                <a:lnTo>
                  <a:pt x="96" y="1084"/>
                </a:lnTo>
                <a:close/>
                <a:moveTo>
                  <a:pt x="1084" y="1519"/>
                </a:moveTo>
                <a:cubicBezTo>
                  <a:pt x="824" y="1519"/>
                  <a:pt x="824" y="1519"/>
                  <a:pt x="824" y="1519"/>
                </a:cubicBezTo>
                <a:cubicBezTo>
                  <a:pt x="824" y="1618"/>
                  <a:pt x="824" y="1618"/>
                  <a:pt x="824" y="1618"/>
                </a:cubicBezTo>
                <a:cubicBezTo>
                  <a:pt x="1443" y="1618"/>
                  <a:pt x="1443" y="1618"/>
                  <a:pt x="1443" y="1618"/>
                </a:cubicBezTo>
                <a:cubicBezTo>
                  <a:pt x="1443" y="1519"/>
                  <a:pt x="1443" y="1519"/>
                  <a:pt x="1443" y="1519"/>
                </a:cubicBezTo>
                <a:cubicBezTo>
                  <a:pt x="1293" y="1519"/>
                  <a:pt x="1293" y="1519"/>
                  <a:pt x="1293" y="1519"/>
                </a:cubicBezTo>
                <a:cubicBezTo>
                  <a:pt x="1293" y="870"/>
                  <a:pt x="1293" y="870"/>
                  <a:pt x="1293" y="870"/>
                </a:cubicBezTo>
                <a:cubicBezTo>
                  <a:pt x="1443" y="870"/>
                  <a:pt x="1443" y="870"/>
                  <a:pt x="1443" y="870"/>
                </a:cubicBezTo>
                <a:cubicBezTo>
                  <a:pt x="1443" y="772"/>
                  <a:pt x="1443" y="772"/>
                  <a:pt x="1443" y="772"/>
                </a:cubicBezTo>
                <a:cubicBezTo>
                  <a:pt x="586" y="772"/>
                  <a:pt x="586" y="772"/>
                  <a:pt x="586" y="772"/>
                </a:cubicBezTo>
                <a:cubicBezTo>
                  <a:pt x="586" y="870"/>
                  <a:pt x="586" y="870"/>
                  <a:pt x="586" y="870"/>
                </a:cubicBezTo>
                <a:cubicBezTo>
                  <a:pt x="1084" y="870"/>
                  <a:pt x="1084" y="870"/>
                  <a:pt x="1084" y="870"/>
                </a:cubicBezTo>
                <a:lnTo>
                  <a:pt x="1084" y="15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57125" tIns="28565" rIns="57125" bIns="28565" numCol="1" anchor="t" anchorCtr="0" compatLnSpc="1"/>
          <a:lstStyle/>
          <a:p>
            <a:endParaRPr lang="en-US" dirty="0"/>
          </a:p>
        </p:txBody>
      </p:sp>
      <p:grpSp>
        <p:nvGrpSpPr>
          <p:cNvPr id="58" name="组合 57"/>
          <p:cNvGrpSpPr/>
          <p:nvPr/>
        </p:nvGrpSpPr>
        <p:grpSpPr>
          <a:xfrm>
            <a:off x="5046017" y="3136086"/>
            <a:ext cx="893046" cy="284018"/>
            <a:chOff x="730474" y="5060899"/>
            <a:chExt cx="2494182" cy="793231"/>
          </a:xfrm>
        </p:grpSpPr>
        <p:grpSp>
          <p:nvGrpSpPr>
            <p:cNvPr id="68" name="组合 67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81" name="六边形 8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79" name="六边形 78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0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70" name="组合 69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77" name="六边形 7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71" name="组合 70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75" name="六边形 74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72" name="组合 7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73" name="六边形 7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83" name="文本框 82"/>
          <p:cNvSpPr txBox="1"/>
          <p:nvPr/>
        </p:nvSpPr>
        <p:spPr>
          <a:xfrm>
            <a:off x="5891331" y="3107683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84" name="组合 83"/>
          <p:cNvGrpSpPr/>
          <p:nvPr/>
        </p:nvGrpSpPr>
        <p:grpSpPr>
          <a:xfrm>
            <a:off x="7578459" y="3197651"/>
            <a:ext cx="458705" cy="184283"/>
            <a:chOff x="11107842" y="6201641"/>
            <a:chExt cx="458705" cy="184283"/>
          </a:xfrm>
        </p:grpSpPr>
        <p:pic>
          <p:nvPicPr>
            <p:cNvPr id="85" name="图片 84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86" name="图片 85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87" name="六边形 86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0" name="Freeform 82"/>
          <p:cNvSpPr/>
          <p:nvPr/>
        </p:nvSpPr>
        <p:spPr bwMode="auto">
          <a:xfrm>
            <a:off x="7744618" y="3212929"/>
            <a:ext cx="124306" cy="149319"/>
          </a:xfrm>
          <a:custGeom>
            <a:avLst/>
            <a:gdLst>
              <a:gd name="T0" fmla="*/ 332 w 332"/>
              <a:gd name="T1" fmla="*/ 266 h 399"/>
              <a:gd name="T2" fmla="*/ 332 w 332"/>
              <a:gd name="T3" fmla="*/ 199 h 399"/>
              <a:gd name="T4" fmla="*/ 200 w 332"/>
              <a:gd name="T5" fmla="*/ 134 h 399"/>
              <a:gd name="T6" fmla="*/ 199 w 332"/>
              <a:gd name="T7" fmla="*/ 134 h 399"/>
              <a:gd name="T8" fmla="*/ 199 w 332"/>
              <a:gd name="T9" fmla="*/ 32 h 399"/>
              <a:gd name="T10" fmla="*/ 199 w 332"/>
              <a:gd name="T11" fmla="*/ 32 h 399"/>
              <a:gd name="T12" fmla="*/ 166 w 332"/>
              <a:gd name="T13" fmla="*/ 0 h 399"/>
              <a:gd name="T14" fmla="*/ 133 w 332"/>
              <a:gd name="T15" fmla="*/ 32 h 399"/>
              <a:gd name="T16" fmla="*/ 133 w 332"/>
              <a:gd name="T17" fmla="*/ 32 h 399"/>
              <a:gd name="T18" fmla="*/ 133 w 332"/>
              <a:gd name="T19" fmla="*/ 134 h 399"/>
              <a:gd name="T20" fmla="*/ 0 w 332"/>
              <a:gd name="T21" fmla="*/ 199 h 399"/>
              <a:gd name="T22" fmla="*/ 0 w 332"/>
              <a:gd name="T23" fmla="*/ 266 h 399"/>
              <a:gd name="T24" fmla="*/ 133 w 332"/>
              <a:gd name="T25" fmla="*/ 213 h 399"/>
              <a:gd name="T26" fmla="*/ 133 w 332"/>
              <a:gd name="T27" fmla="*/ 328 h 399"/>
              <a:gd name="T28" fmla="*/ 99 w 332"/>
              <a:gd name="T29" fmla="*/ 354 h 399"/>
              <a:gd name="T30" fmla="*/ 99 w 332"/>
              <a:gd name="T31" fmla="*/ 399 h 399"/>
              <a:gd name="T32" fmla="*/ 166 w 332"/>
              <a:gd name="T33" fmla="*/ 365 h 399"/>
              <a:gd name="T34" fmla="*/ 232 w 332"/>
              <a:gd name="T35" fmla="*/ 399 h 399"/>
              <a:gd name="T36" fmla="*/ 232 w 332"/>
              <a:gd name="T37" fmla="*/ 354 h 399"/>
              <a:gd name="T38" fmla="*/ 199 w 332"/>
              <a:gd name="T39" fmla="*/ 329 h 399"/>
              <a:gd name="T40" fmla="*/ 199 w 332"/>
              <a:gd name="T41" fmla="*/ 213 h 399"/>
              <a:gd name="T42" fmla="*/ 332 w 332"/>
              <a:gd name="T43" fmla="*/ 266 h 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32" h="399">
                <a:moveTo>
                  <a:pt x="332" y="266"/>
                </a:moveTo>
                <a:cubicBezTo>
                  <a:pt x="332" y="199"/>
                  <a:pt x="332" y="199"/>
                  <a:pt x="332" y="199"/>
                </a:cubicBezTo>
                <a:cubicBezTo>
                  <a:pt x="200" y="134"/>
                  <a:pt x="200" y="134"/>
                  <a:pt x="200" y="134"/>
                </a:cubicBezTo>
                <a:cubicBezTo>
                  <a:pt x="199" y="134"/>
                  <a:pt x="199" y="134"/>
                  <a:pt x="199" y="134"/>
                </a:cubicBezTo>
                <a:cubicBezTo>
                  <a:pt x="199" y="32"/>
                  <a:pt x="199" y="32"/>
                  <a:pt x="199" y="32"/>
                </a:cubicBezTo>
                <a:cubicBezTo>
                  <a:pt x="199" y="32"/>
                  <a:pt x="199" y="32"/>
                  <a:pt x="199" y="32"/>
                </a:cubicBezTo>
                <a:cubicBezTo>
                  <a:pt x="198" y="14"/>
                  <a:pt x="184" y="0"/>
                  <a:pt x="166" y="0"/>
                </a:cubicBezTo>
                <a:cubicBezTo>
                  <a:pt x="148" y="0"/>
                  <a:pt x="133" y="14"/>
                  <a:pt x="133" y="32"/>
                </a:cubicBezTo>
                <a:cubicBezTo>
                  <a:pt x="133" y="32"/>
                  <a:pt x="133" y="32"/>
                  <a:pt x="133" y="32"/>
                </a:cubicBezTo>
                <a:cubicBezTo>
                  <a:pt x="133" y="134"/>
                  <a:pt x="133" y="134"/>
                  <a:pt x="133" y="134"/>
                </a:cubicBezTo>
                <a:cubicBezTo>
                  <a:pt x="119" y="137"/>
                  <a:pt x="0" y="199"/>
                  <a:pt x="0" y="199"/>
                </a:cubicBezTo>
                <a:cubicBezTo>
                  <a:pt x="0" y="266"/>
                  <a:pt x="0" y="266"/>
                  <a:pt x="0" y="266"/>
                </a:cubicBezTo>
                <a:cubicBezTo>
                  <a:pt x="133" y="213"/>
                  <a:pt x="133" y="213"/>
                  <a:pt x="133" y="213"/>
                </a:cubicBezTo>
                <a:cubicBezTo>
                  <a:pt x="133" y="328"/>
                  <a:pt x="133" y="328"/>
                  <a:pt x="133" y="328"/>
                </a:cubicBezTo>
                <a:cubicBezTo>
                  <a:pt x="119" y="338"/>
                  <a:pt x="99" y="354"/>
                  <a:pt x="99" y="354"/>
                </a:cubicBezTo>
                <a:cubicBezTo>
                  <a:pt x="99" y="399"/>
                  <a:pt x="99" y="399"/>
                  <a:pt x="99" y="399"/>
                </a:cubicBezTo>
                <a:cubicBezTo>
                  <a:pt x="166" y="365"/>
                  <a:pt x="166" y="365"/>
                  <a:pt x="166" y="365"/>
                </a:cubicBezTo>
                <a:cubicBezTo>
                  <a:pt x="232" y="399"/>
                  <a:pt x="232" y="399"/>
                  <a:pt x="232" y="399"/>
                </a:cubicBezTo>
                <a:cubicBezTo>
                  <a:pt x="232" y="354"/>
                  <a:pt x="232" y="354"/>
                  <a:pt x="232" y="354"/>
                </a:cubicBezTo>
                <a:cubicBezTo>
                  <a:pt x="199" y="329"/>
                  <a:pt x="199" y="329"/>
                  <a:pt x="199" y="329"/>
                </a:cubicBezTo>
                <a:cubicBezTo>
                  <a:pt x="199" y="213"/>
                  <a:pt x="199" y="213"/>
                  <a:pt x="199" y="213"/>
                </a:cubicBezTo>
                <a:lnTo>
                  <a:pt x="332" y="2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21503" y="2568273"/>
            <a:ext cx="3577217" cy="1591060"/>
          </a:xfrm>
          <a:prstGeom prst="rect">
            <a:avLst/>
          </a:prstGeom>
        </p:spPr>
      </p:pic>
      <p:cxnSp>
        <p:nvCxnSpPr>
          <p:cNvPr id="28" name="直接连接符 27"/>
          <p:cNvCxnSpPr/>
          <p:nvPr/>
        </p:nvCxnSpPr>
        <p:spPr>
          <a:xfrm flipV="1">
            <a:off x="4876800" y="2568273"/>
            <a:ext cx="0" cy="1569661"/>
          </a:xfrm>
          <a:prstGeom prst="line">
            <a:avLst/>
          </a:prstGeom>
          <a:ln w="57150">
            <a:solidFill>
              <a:srgbClr val="EE35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5029200" y="2568273"/>
            <a:ext cx="5532284" cy="1569660"/>
          </a:xfrm>
          <a:prstGeom prst="rect">
            <a:avLst/>
          </a:prstGeom>
          <a:solidFill>
            <a:srgbClr val="EE3551"/>
          </a:solidFill>
        </p:spPr>
        <p:txBody>
          <a:bodyPr wrap="none" rtlCol="0">
            <a:spAutoFit/>
          </a:bodyPr>
          <a:lstStyle/>
          <a:p>
            <a:r>
              <a:rPr lang="en-US" altLang="zh-CN" sz="9600" dirty="0" smtClean="0">
                <a:solidFill>
                  <a:schemeClr val="bg1"/>
                </a:solidFill>
                <a:latin typeface="Impact" panose="020B0806030902050204" pitchFamily="34" charset="0"/>
              </a:rPr>
              <a:t>THANK YOU</a:t>
            </a:r>
            <a:endParaRPr lang="zh-CN" altLang="en-US" sz="96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" name="矩形 2"/>
          <p:cNvSpPr/>
          <p:nvPr/>
        </p:nvSpPr>
        <p:spPr>
          <a:xfrm>
            <a:off x="9525" y="-36195"/>
            <a:ext cx="12182475" cy="6894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400"/>
          </a:p>
        </p:txBody>
      </p:sp>
      <p:sp>
        <p:nvSpPr>
          <p:cNvPr id="7" name="矩形 6"/>
          <p:cNvSpPr/>
          <p:nvPr/>
        </p:nvSpPr>
        <p:spPr>
          <a:xfrm>
            <a:off x="635" y="2586991"/>
            <a:ext cx="12191365" cy="123761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2800" b="1" i="0" u="none" strike="noStrike" kern="1200" cap="none" spc="200" normalizeH="0" baseline="0" noProof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cs typeface="+mn-cs"/>
              </a:rPr>
              <a:t>10000+套</a:t>
            </a:r>
            <a:r>
              <a:rPr kumimoji="0" lang="zh-CN" altLang="en-US" sz="2775" b="1" i="0" u="none" strike="noStrike" kern="1200" cap="none" spc="200" normalizeH="0" baseline="0" noProof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cs typeface="+mn-cs"/>
              </a:rPr>
              <a:t>精品</a:t>
            </a:r>
            <a:r>
              <a:rPr kumimoji="0" lang="en-US" altLang="zh-CN" sz="2775" b="1" i="0" u="none" strike="noStrike" kern="1200" cap="none" spc="200" normalizeH="0" baseline="0" noProof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cs typeface="+mn-cs"/>
              </a:rPr>
              <a:t>PPT</a:t>
            </a:r>
            <a:r>
              <a:rPr kumimoji="0" lang="zh-CN" altLang="en-US" sz="2775" b="1" i="0" u="none" strike="noStrike" kern="1200" cap="none" spc="200" normalizeH="0" baseline="0" noProof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cs typeface="+mn-cs"/>
              </a:rPr>
              <a:t>模板</a:t>
            </a:r>
            <a:r>
              <a:rPr kumimoji="0" lang="zh-CN" altLang="en-US" sz="2780" b="1" i="0" u="none" strike="noStrike" kern="1200" cap="none" spc="200" normalizeH="0" baseline="0" noProof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cs typeface="+mn-cs"/>
              </a:rPr>
              <a:t>全部免费</a:t>
            </a:r>
            <a:r>
              <a:rPr kumimoji="0" lang="zh-CN" altLang="en-US" sz="2775" b="1" i="0" u="none" strike="noStrike" kern="1200" cap="none" spc="200" normalizeH="0" baseline="0" noProof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cs typeface="+mn-cs"/>
              </a:rPr>
              <a:t>下载</a:t>
            </a:r>
            <a:endParaRPr kumimoji="0" lang="en-US" altLang="zh-CN" sz="2775" b="1" i="0" u="none" strike="noStrike" kern="1200" cap="none" spc="200" normalizeH="0" baseline="0" noProof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pic>
        <p:nvPicPr>
          <p:cNvPr id="4" name="图片 3" descr="logo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843145" y="1400175"/>
            <a:ext cx="2505075" cy="7620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4200525" y="4134485"/>
            <a:ext cx="3800475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3200" b="1">
                <a:solidFill>
                  <a:schemeClr val="accent6"/>
                </a:solidFill>
                <a:hlinkClick r:id="rId2" action="ppaction://hlinkfile">
                  <a:extLst>
                    <a:ext uri="{DAF060AB-1E55-43B9-8AAB-6FB025537F2F}">
                      <wpsdc:hlinkClr xmlns:wpsdc="http://www.wps.cn/officeDocument/2017/drawingmlCustomData" val="E94520"/>
                      <wpsdc:folHlinkClr xmlns:wpsdc="http://www.wps.cn/officeDocument/2017/drawingmlCustomData" val="954D72"/>
                      <wpsdc:hlinkUnderline xmlns:wpsdc="http://www.wps.cn/officeDocument/2017/drawingmlCustomData" val="1"/>
                    </a:ext>
                  </a:extLst>
                </a:hlinkClick>
              </a:rPr>
              <a:t>PPT</a:t>
            </a:r>
            <a:r>
              <a:rPr lang="zh-CN" altLang="en-US" sz="3200" b="1">
                <a:solidFill>
                  <a:schemeClr val="accent6"/>
                </a:solidFill>
                <a:hlinkClick r:id="rId2" action="ppaction://hlinkfile">
                  <a:extLst>
                    <a:ext uri="{DAF060AB-1E55-43B9-8AAB-6FB025537F2F}">
                      <wpsdc:hlinkClr xmlns:wpsdc="http://www.wps.cn/officeDocument/2017/drawingmlCustomData" val="E94520"/>
                      <wpsdc:folHlinkClr xmlns:wpsdc="http://www.wps.cn/officeDocument/2017/drawingmlCustomData" val="954D72"/>
                      <wpsdc:hlinkUnderline xmlns:wpsdc="http://www.wps.cn/officeDocument/2017/drawingmlCustomData" val="1"/>
                    </a:ext>
                  </a:extLst>
                </a:hlinkClick>
              </a:rPr>
              <a:t>营</a:t>
            </a:r>
            <a:endParaRPr lang="zh-CN" altLang="en-US" sz="3200" b="1">
              <a:solidFill>
                <a:schemeClr val="accent6"/>
              </a:solidFill>
              <a:hlinkClick r:id="rId2" action="ppaction://hlinkfile">
                <a:extLst>
                  <a:ext uri="{DAF060AB-1E55-43B9-8AAB-6FB025537F2F}">
                    <wpsdc:hlinkClr xmlns:wpsdc="http://www.wps.cn/officeDocument/2017/drawingmlCustomData" val="E94520"/>
                    <wpsdc:folHlinkClr xmlns:wpsdc="http://www.wps.cn/officeDocument/2017/drawingmlCustomData" val="954D72"/>
                    <wpsdc:hlinkUnderline xmlns:wpsdc="http://www.wps.cn/officeDocument/2017/drawingmlCustomData" val="1"/>
                  </a:ext>
                </a:extLst>
              </a:hlinkClick>
            </a:endParaRPr>
          </a:p>
          <a:p>
            <a:pPr algn="ctr"/>
            <a:r>
              <a:rPr lang="en-US" altLang="zh-CN" sz="3200" b="1">
                <a:solidFill>
                  <a:schemeClr val="accent6"/>
                </a:solidFill>
                <a:hlinkClick r:id="rId2" action="ppaction://hlinkfile">
                  <a:extLst>
                    <a:ext uri="{DAF060AB-1E55-43B9-8AAB-6FB025537F2F}">
                      <wpsdc:hlinkClr xmlns:wpsdc="http://www.wps.cn/officeDocument/2017/drawingmlCustomData" val="E94520"/>
                      <wpsdc:folHlinkClr xmlns:wpsdc="http://www.wps.cn/officeDocument/2017/drawingmlCustomData" val="954D72"/>
                      <wpsdc:hlinkUnderline xmlns:wpsdc="http://www.wps.cn/officeDocument/2017/drawingmlCustomData" val="1"/>
                    </a:ext>
                  </a:extLst>
                </a:hlinkClick>
              </a:rPr>
              <a:t>www.pptying.com</a:t>
            </a:r>
            <a:endParaRPr lang="en-US" altLang="zh-CN" sz="3200" b="1">
              <a:solidFill>
                <a:schemeClr val="accent6"/>
              </a:solidFill>
              <a:hlinkClick r:id="rId2" action="ppaction://hlinkfile">
                <a:extLst>
                  <a:ext uri="{DAF060AB-1E55-43B9-8AAB-6FB025537F2F}">
                    <wpsdc:hlinkClr xmlns:wpsdc="http://www.wps.cn/officeDocument/2017/drawingmlCustomData" val="E94520"/>
                    <wpsdc:folHlinkClr xmlns:wpsdc="http://www.wps.cn/officeDocument/2017/drawingmlCustomData" val="954D72"/>
                    <wpsdc:hlinkUnderline xmlns:wpsdc="http://www.wps.cn/officeDocument/2017/drawingmlCustomData" val="1"/>
                  </a:ext>
                </a:extLst>
              </a:hlinkClick>
            </a:endParaRPr>
          </a:p>
        </p:txBody>
      </p:sp>
    </p:spTree>
  </p:cSld>
  <p:clrMapOvr>
    <a:masterClrMapping/>
  </p:clrMapOvr>
  <p:transition spd="med" advClick="0" advTm="0">
    <p:push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3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46" name="组合 45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59" name="矩形 58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60" name="文本框 59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61" name="文本框 60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62" name="直接连接符 61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椭圆 62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64" name="文本框 63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组合 4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53" name="六边形 5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5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50" name="组合 4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51" name="六边形 5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5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  <p:pic>
        <p:nvPicPr>
          <p:cNvPr id="70" name="图片 6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597" y="1629381"/>
            <a:ext cx="2643233" cy="2643233"/>
          </a:xfrm>
          <a:prstGeom prst="rect">
            <a:avLst/>
          </a:prstGeom>
        </p:spPr>
      </p:pic>
      <p:sp>
        <p:nvSpPr>
          <p:cNvPr id="71" name="矩形 70"/>
          <p:cNvSpPr/>
          <p:nvPr/>
        </p:nvSpPr>
        <p:spPr>
          <a:xfrm>
            <a:off x="4688585" y="2632637"/>
            <a:ext cx="392928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GO LIVE FOR THE HEALTHY </a:t>
            </a:r>
            <a:endParaRPr lang="en-US" altLang="zh-CN" dirty="0" smtClean="0">
              <a:solidFill>
                <a:schemeClr val="bg1"/>
              </a:solidFill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  <a:p>
            <a:r>
              <a:rPr lang="en-US" altLang="zh-CN" dirty="0" smtClean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SEAS </a:t>
            </a:r>
            <a:r>
              <a:rPr lang="en-US" altLang="zh-CN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INITIATIVE!</a:t>
            </a:r>
            <a:endParaRPr lang="zh-CN" altLang="en-US" dirty="0">
              <a:solidFill>
                <a:schemeClr val="bg1"/>
              </a:solidFill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4697200" y="3220851"/>
            <a:ext cx="732655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If you wish to follow step by step our growing initiative for the sea, now you have every possible connection</a:t>
            </a:r>
            <a:r>
              <a:rPr lang="en-US" altLang="zh-CN" sz="1100" dirty="0" smtClean="0">
                <a:solidFill>
                  <a:schemeClr val="bg1"/>
                </a:solidFill>
              </a:rPr>
              <a:t>!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Blog: </a:t>
            </a:r>
            <a:r>
              <a:rPr lang="en-US" altLang="zh-CN" sz="1100" dirty="0" smtClean="0">
                <a:solidFill>
                  <a:schemeClr val="bg1"/>
                </a:solidFill>
              </a:rPr>
              <a:t>www.12345678.org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Twitter: </a:t>
            </a:r>
            <a:r>
              <a:rPr lang="en-US" altLang="zh-CN" sz="1100" dirty="0" smtClean="0">
                <a:solidFill>
                  <a:schemeClr val="bg1"/>
                </a:solidFill>
              </a:rPr>
              <a:t>@</a:t>
            </a:r>
            <a:r>
              <a:rPr lang="en-US" altLang="zh-CN" sz="1100" dirty="0" err="1" smtClean="0">
                <a:solidFill>
                  <a:schemeClr val="bg1"/>
                </a:solidFill>
              </a:rPr>
              <a:t>PPTSTORE_org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Facebook: </a:t>
            </a:r>
            <a:r>
              <a:rPr lang="en-US" altLang="zh-CN" sz="1100" dirty="0" err="1" smtClean="0">
                <a:solidFill>
                  <a:schemeClr val="bg1"/>
                </a:solidFill>
              </a:rPr>
              <a:t>Pptstore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We will share every step of our initiative with all communities and we will discuss interesting news on marine conservation, ghost fishing, recycling and sustainable brands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cxnSp>
        <p:nvCxnSpPr>
          <p:cNvPr id="73" name="直接连接符 72"/>
          <p:cNvCxnSpPr/>
          <p:nvPr/>
        </p:nvCxnSpPr>
        <p:spPr>
          <a:xfrm>
            <a:off x="4673294" y="2673413"/>
            <a:ext cx="0" cy="50400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04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4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8" name="Picture 2" descr="\\MAGNUM\Projects\Microsoft\Cloud Power FY12\Design\Icons\PNGs\Cloud_on_your_terms.png"/>
          <p:cNvPicPr>
            <a:picLocks noChangeAspect="1" noChangeArrowheads="1"/>
          </p:cNvPicPr>
          <p:nvPr/>
        </p:nvPicPr>
        <p:blipFill rotWithShape="1">
          <a:blip r:embed="rId2" cstate="print">
            <a:lum bright="100000"/>
          </a:blip>
          <a:srcRect t="20012" b="23305"/>
          <a:stretch>
            <a:fillRect/>
          </a:stretch>
        </p:blipFill>
        <p:spPr bwMode="auto">
          <a:xfrm>
            <a:off x="791034" y="1656272"/>
            <a:ext cx="6770349" cy="426145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72" name="组合 71"/>
          <p:cNvGrpSpPr/>
          <p:nvPr/>
        </p:nvGrpSpPr>
        <p:grpSpPr>
          <a:xfrm>
            <a:off x="6095999" y="2456239"/>
            <a:ext cx="588623" cy="300019"/>
            <a:chOff x="6095999" y="2456239"/>
            <a:chExt cx="588623" cy="300019"/>
          </a:xfrm>
        </p:grpSpPr>
        <p:grpSp>
          <p:nvGrpSpPr>
            <p:cNvPr id="70" name="组合 69"/>
            <p:cNvGrpSpPr/>
            <p:nvPr/>
          </p:nvGrpSpPr>
          <p:grpSpPr>
            <a:xfrm>
              <a:off x="6095999" y="2456239"/>
              <a:ext cx="588623" cy="243463"/>
              <a:chOff x="5985850" y="2345978"/>
              <a:chExt cx="588623" cy="243463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56" name="组合 55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99" name="六边形 9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7" name="等腰三角形 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58" name="文本框 57"/>
              <p:cNvSpPr txBox="1"/>
              <p:nvPr/>
            </p:nvSpPr>
            <p:spPr>
              <a:xfrm>
                <a:off x="5985850" y="2345978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71" name="椭圆 70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0" name="组合 99"/>
          <p:cNvGrpSpPr/>
          <p:nvPr/>
        </p:nvGrpSpPr>
        <p:grpSpPr>
          <a:xfrm>
            <a:off x="5058539" y="3278991"/>
            <a:ext cx="588623" cy="300018"/>
            <a:chOff x="6095999" y="2456240"/>
            <a:chExt cx="588623" cy="300018"/>
          </a:xfrm>
        </p:grpSpPr>
        <p:grpSp>
          <p:nvGrpSpPr>
            <p:cNvPr id="101" name="组合 100"/>
            <p:cNvGrpSpPr/>
            <p:nvPr/>
          </p:nvGrpSpPr>
          <p:grpSpPr>
            <a:xfrm>
              <a:off x="6095999" y="2456240"/>
              <a:ext cx="588623" cy="243462"/>
              <a:chOff x="5985850" y="2345979"/>
              <a:chExt cx="588623" cy="24346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03" name="组合 102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05" name="六边形 104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EE3551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06" name="等腰三角形 105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EE355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04" name="文本框 103"/>
              <p:cNvSpPr txBox="1"/>
              <p:nvPr/>
            </p:nvSpPr>
            <p:spPr>
              <a:xfrm>
                <a:off x="5985850" y="2345979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2" name="椭圆 101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EE355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7" name="组合 106"/>
          <p:cNvGrpSpPr/>
          <p:nvPr/>
        </p:nvGrpSpPr>
        <p:grpSpPr>
          <a:xfrm>
            <a:off x="2266402" y="2697058"/>
            <a:ext cx="588623" cy="295873"/>
            <a:chOff x="6095999" y="2460385"/>
            <a:chExt cx="588623" cy="295873"/>
          </a:xfrm>
        </p:grpSpPr>
        <p:grpSp>
          <p:nvGrpSpPr>
            <p:cNvPr id="108" name="组合 107"/>
            <p:cNvGrpSpPr/>
            <p:nvPr/>
          </p:nvGrpSpPr>
          <p:grpSpPr>
            <a:xfrm>
              <a:off x="6095999" y="2460385"/>
              <a:ext cx="588623" cy="239317"/>
              <a:chOff x="5985850" y="2350124"/>
              <a:chExt cx="588623" cy="239317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0" name="组合 109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2" name="六边形 111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95D127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3" name="等腰三角形 112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95D12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1" name="文本框 110"/>
              <p:cNvSpPr txBox="1"/>
              <p:nvPr/>
            </p:nvSpPr>
            <p:spPr>
              <a:xfrm>
                <a:off x="5985850" y="2350124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9" name="椭圆 108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95D127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4" name="组合 113"/>
          <p:cNvGrpSpPr/>
          <p:nvPr/>
        </p:nvGrpSpPr>
        <p:grpSpPr>
          <a:xfrm>
            <a:off x="6467193" y="4363427"/>
            <a:ext cx="588623" cy="276608"/>
            <a:chOff x="6083860" y="2479650"/>
            <a:chExt cx="588623" cy="276608"/>
          </a:xfrm>
        </p:grpSpPr>
        <p:grpSp>
          <p:nvGrpSpPr>
            <p:cNvPr id="115" name="组合 114"/>
            <p:cNvGrpSpPr/>
            <p:nvPr/>
          </p:nvGrpSpPr>
          <p:grpSpPr>
            <a:xfrm>
              <a:off x="6083860" y="2479650"/>
              <a:ext cx="588623" cy="235366"/>
              <a:chOff x="5973711" y="2369389"/>
              <a:chExt cx="588623" cy="235366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7" name="组合 116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9" name="六边形 11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8638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0" name="等腰三角形 119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8" name="文本框 117"/>
              <p:cNvSpPr txBox="1"/>
              <p:nvPr/>
            </p:nvSpPr>
            <p:spPr>
              <a:xfrm>
                <a:off x="5973711" y="2373923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16" name="椭圆 115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8638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1" name="组合 120"/>
          <p:cNvGrpSpPr/>
          <p:nvPr/>
        </p:nvGrpSpPr>
        <p:grpSpPr>
          <a:xfrm>
            <a:off x="2499072" y="3639809"/>
            <a:ext cx="588623" cy="304188"/>
            <a:chOff x="6095999" y="2452070"/>
            <a:chExt cx="588623" cy="304188"/>
          </a:xfrm>
        </p:grpSpPr>
        <p:grpSp>
          <p:nvGrpSpPr>
            <p:cNvPr id="122" name="组合 121"/>
            <p:cNvGrpSpPr/>
            <p:nvPr/>
          </p:nvGrpSpPr>
          <p:grpSpPr>
            <a:xfrm>
              <a:off x="6095999" y="2452070"/>
              <a:ext cx="588623" cy="247632"/>
              <a:chOff x="5985850" y="2341809"/>
              <a:chExt cx="588623" cy="24763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4" name="组合 123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26" name="六边形 125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11A7FC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7" name="等腰三角形 12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11A7F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5" name="文本框 124"/>
              <p:cNvSpPr txBox="1"/>
              <p:nvPr/>
            </p:nvSpPr>
            <p:spPr>
              <a:xfrm>
                <a:off x="5985850" y="2341809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3" name="椭圆 122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11A7FC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64" name="图片 16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705435" y="1920036"/>
            <a:ext cx="2118984" cy="863290"/>
          </a:xfrm>
          <a:prstGeom prst="rect">
            <a:avLst/>
          </a:prstGeom>
        </p:spPr>
      </p:pic>
      <p:sp>
        <p:nvSpPr>
          <p:cNvPr id="165" name="文本框 164"/>
          <p:cNvSpPr txBox="1"/>
          <p:nvPr/>
        </p:nvSpPr>
        <p:spPr>
          <a:xfrm>
            <a:off x="7881972" y="2697058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cxnSp>
        <p:nvCxnSpPr>
          <p:cNvPr id="167" name="直接箭头连接符 166"/>
          <p:cNvCxnSpPr/>
          <p:nvPr/>
        </p:nvCxnSpPr>
        <p:spPr>
          <a:xfrm flipV="1">
            <a:off x="9294196" y="2875788"/>
            <a:ext cx="0" cy="54148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矩形 169"/>
          <p:cNvSpPr/>
          <p:nvPr/>
        </p:nvSpPr>
        <p:spPr>
          <a:xfrm>
            <a:off x="7881972" y="3979394"/>
            <a:ext cx="380425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Find out about the endless applications of the bulk continuous filaments (BCF) and nylon textile filaments (NTF) we produce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73" name="组合 172"/>
          <p:cNvGrpSpPr/>
          <p:nvPr/>
        </p:nvGrpSpPr>
        <p:grpSpPr>
          <a:xfrm>
            <a:off x="8022884" y="3556193"/>
            <a:ext cx="3543664" cy="314559"/>
            <a:chOff x="8022884" y="3611958"/>
            <a:chExt cx="2655660" cy="258794"/>
          </a:xfrm>
        </p:grpSpPr>
        <p:sp>
          <p:nvSpPr>
            <p:cNvPr id="171" name="矩形 170"/>
            <p:cNvSpPr/>
            <p:nvPr/>
          </p:nvSpPr>
          <p:spPr>
            <a:xfrm>
              <a:off x="8022884" y="3611959"/>
              <a:ext cx="1327830" cy="2587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2" name="矩形 171"/>
            <p:cNvSpPr/>
            <p:nvPr/>
          </p:nvSpPr>
          <p:spPr>
            <a:xfrm>
              <a:off x="9350714" y="3611958"/>
              <a:ext cx="1327830" cy="258793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74" name="组合 173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75" name="组合 174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82" name="矩形 181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3" name="文本框 182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84" name="文本框 183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85" name="直接连接符 184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6" name="椭圆 185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7" name="文本框 186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6" name="组合 175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80" name="六边形 179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1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77" name="组合 176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78" name="六边形 177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9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5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8" name="图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7161" y="1892665"/>
            <a:ext cx="1219200" cy="12192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636" y="1892665"/>
            <a:ext cx="1219200" cy="1219200"/>
          </a:xfrm>
          <a:prstGeom prst="rect">
            <a:avLst/>
          </a:prstGeom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0111" y="1892665"/>
            <a:ext cx="1219200" cy="1219200"/>
          </a:xfrm>
          <a:prstGeom prst="rect">
            <a:avLst/>
          </a:prstGeom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6586" y="1892665"/>
            <a:ext cx="1219200" cy="1219200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3061" y="1851235"/>
            <a:ext cx="1219200" cy="1219200"/>
          </a:xfrm>
          <a:prstGeom prst="rect">
            <a:avLst/>
          </a:prstGeom>
        </p:spPr>
      </p:pic>
      <p:grpSp>
        <p:nvGrpSpPr>
          <p:cNvPr id="57" name="组合 56"/>
          <p:cNvGrpSpPr/>
          <p:nvPr/>
        </p:nvGrpSpPr>
        <p:grpSpPr>
          <a:xfrm>
            <a:off x="1235550" y="3261833"/>
            <a:ext cx="1437655" cy="1871912"/>
            <a:chOff x="1235550" y="3307188"/>
            <a:chExt cx="1437655" cy="1871912"/>
          </a:xfrm>
        </p:grpSpPr>
        <p:sp>
          <p:nvSpPr>
            <p:cNvPr id="74" name="矩形 73"/>
            <p:cNvSpPr/>
            <p:nvPr/>
          </p:nvSpPr>
          <p:spPr>
            <a:xfrm>
              <a:off x="1343995" y="3307188"/>
              <a:ext cx="1329210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MARS DU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75" name="直接连接符 7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矩形 7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77" name="矩形 7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8" name="组合 77"/>
          <p:cNvGrpSpPr/>
          <p:nvPr/>
        </p:nvGrpSpPr>
        <p:grpSpPr>
          <a:xfrm>
            <a:off x="3307656" y="3261833"/>
            <a:ext cx="1407413" cy="1871912"/>
            <a:chOff x="1235550" y="3307188"/>
            <a:chExt cx="1407413" cy="1871912"/>
          </a:xfrm>
        </p:grpSpPr>
        <p:sp>
          <p:nvSpPr>
            <p:cNvPr id="79" name="矩形 78"/>
            <p:cNvSpPr/>
            <p:nvPr/>
          </p:nvSpPr>
          <p:spPr>
            <a:xfrm>
              <a:off x="1343995" y="3307188"/>
              <a:ext cx="1167307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JOHN LI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80" name="直接连接符 79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矩形 80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82" name="矩形 81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3" name="组合 82"/>
          <p:cNvGrpSpPr/>
          <p:nvPr/>
        </p:nvGrpSpPr>
        <p:grpSpPr>
          <a:xfrm>
            <a:off x="5359885" y="3261833"/>
            <a:ext cx="1407413" cy="1871912"/>
            <a:chOff x="1235550" y="3307188"/>
            <a:chExt cx="1407413" cy="1871912"/>
          </a:xfrm>
        </p:grpSpPr>
        <p:sp>
          <p:nvSpPr>
            <p:cNvPr id="84" name="矩形 83"/>
            <p:cNvSpPr/>
            <p:nvPr/>
          </p:nvSpPr>
          <p:spPr>
            <a:xfrm>
              <a:off x="1343995" y="3307188"/>
              <a:ext cx="1250663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LYHN ZE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85" name="直接连接符 8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矩形 8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87" name="矩形 8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8" name="组合 87"/>
          <p:cNvGrpSpPr/>
          <p:nvPr/>
        </p:nvGrpSpPr>
        <p:grpSpPr>
          <a:xfrm>
            <a:off x="7487033" y="3261833"/>
            <a:ext cx="1407413" cy="1871912"/>
            <a:chOff x="1235550" y="3307188"/>
            <a:chExt cx="1407413" cy="1871912"/>
          </a:xfrm>
        </p:grpSpPr>
        <p:sp>
          <p:nvSpPr>
            <p:cNvPr id="89" name="矩形 88"/>
            <p:cNvSpPr/>
            <p:nvPr/>
          </p:nvSpPr>
          <p:spPr>
            <a:xfrm>
              <a:off x="1343995" y="3307188"/>
              <a:ext cx="1282723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HAR SU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90" name="直接连接符 89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矩形 90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92" name="矩形 91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3" name="组合 92"/>
          <p:cNvGrpSpPr/>
          <p:nvPr/>
        </p:nvGrpSpPr>
        <p:grpSpPr>
          <a:xfrm>
            <a:off x="9500219" y="3261833"/>
            <a:ext cx="1407413" cy="1871912"/>
            <a:chOff x="1235550" y="3307188"/>
            <a:chExt cx="1407413" cy="1871912"/>
          </a:xfrm>
        </p:grpSpPr>
        <p:sp>
          <p:nvSpPr>
            <p:cNvPr id="94" name="矩形 93"/>
            <p:cNvSpPr/>
            <p:nvPr/>
          </p:nvSpPr>
          <p:spPr>
            <a:xfrm>
              <a:off x="1343995" y="3307188"/>
              <a:ext cx="1263487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JACK HA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95" name="直接连接符 9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矩形 9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 smtClean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97" name="矩形 9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8" name="组合 9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99" name="组合 9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06" name="矩形 10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7" name="文本框 10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08" name="文本框 10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09" name="直接连接符 10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0" name="椭圆 10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1" name="文本框 11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0" name="组合 9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04" name="六边形 10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01" name="组合 10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02" name="六边形 10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527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6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8" name="Picture 10"/>
          <p:cNvPicPr>
            <a:picLocks noChangeAspect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3426" y="2560182"/>
            <a:ext cx="255323" cy="554128"/>
          </a:xfrm>
          <a:prstGeom prst="rect">
            <a:avLst/>
          </a:prstGeom>
        </p:spPr>
      </p:pic>
      <p:pic>
        <p:nvPicPr>
          <p:cNvPr id="109" name="Picture 10"/>
          <p:cNvPicPr>
            <a:picLocks noChangeAspect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608" y="2560182"/>
            <a:ext cx="255323" cy="554128"/>
          </a:xfrm>
          <a:prstGeom prst="rect">
            <a:avLst/>
          </a:prstGeom>
        </p:spPr>
      </p:pic>
      <p:pic>
        <p:nvPicPr>
          <p:cNvPr id="110" name="Picture 10"/>
          <p:cNvPicPr>
            <a:picLocks noChangeAspect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791" y="2560182"/>
            <a:ext cx="255323" cy="554128"/>
          </a:xfrm>
          <a:prstGeom prst="rect">
            <a:avLst/>
          </a:prstGeom>
        </p:spPr>
      </p:pic>
      <p:pic>
        <p:nvPicPr>
          <p:cNvPr id="111" name="Picture 10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1789" y="3322121"/>
            <a:ext cx="255323" cy="554128"/>
          </a:xfrm>
          <a:prstGeom prst="rect">
            <a:avLst/>
          </a:prstGeom>
        </p:spPr>
      </p:pic>
      <p:pic>
        <p:nvPicPr>
          <p:cNvPr id="112" name="Picture 11"/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413" y="3322121"/>
            <a:ext cx="217909" cy="553622"/>
          </a:xfrm>
          <a:prstGeom prst="rect">
            <a:avLst/>
          </a:prstGeom>
        </p:spPr>
      </p:pic>
      <p:pic>
        <p:nvPicPr>
          <p:cNvPr id="113" name="Picture 11"/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3181" y="3322121"/>
            <a:ext cx="217909" cy="553622"/>
          </a:xfrm>
          <a:prstGeom prst="rect">
            <a:avLst/>
          </a:prstGeom>
        </p:spPr>
      </p:pic>
      <p:pic>
        <p:nvPicPr>
          <p:cNvPr id="114" name="Picture 11"/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2949" y="3322121"/>
            <a:ext cx="217909" cy="553622"/>
          </a:xfrm>
          <a:prstGeom prst="rect">
            <a:avLst/>
          </a:prstGeom>
        </p:spPr>
      </p:pic>
      <p:pic>
        <p:nvPicPr>
          <p:cNvPr id="115" name="Picture 11"/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717" y="3322121"/>
            <a:ext cx="217909" cy="553622"/>
          </a:xfrm>
          <a:prstGeom prst="rect">
            <a:avLst/>
          </a:prstGeom>
        </p:spPr>
      </p:pic>
      <p:pic>
        <p:nvPicPr>
          <p:cNvPr id="119" name="Picture 10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971" y="3322121"/>
            <a:ext cx="255323" cy="554128"/>
          </a:xfrm>
          <a:prstGeom prst="rect">
            <a:avLst/>
          </a:prstGeom>
        </p:spPr>
      </p:pic>
      <p:pic>
        <p:nvPicPr>
          <p:cNvPr id="120" name="Picture 10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154" y="3322121"/>
            <a:ext cx="255323" cy="554128"/>
          </a:xfrm>
          <a:prstGeom prst="rect">
            <a:avLst/>
          </a:prstGeom>
        </p:spPr>
      </p:pic>
      <p:pic>
        <p:nvPicPr>
          <p:cNvPr id="121" name="Picture 10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951" y="4115792"/>
            <a:ext cx="255323" cy="554128"/>
          </a:xfrm>
          <a:prstGeom prst="rect">
            <a:avLst/>
          </a:prstGeom>
        </p:spPr>
      </p:pic>
      <p:pic>
        <p:nvPicPr>
          <p:cNvPr id="122" name="Picture 10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2734" y="4115792"/>
            <a:ext cx="255323" cy="554128"/>
          </a:xfrm>
          <a:prstGeom prst="rect">
            <a:avLst/>
          </a:prstGeom>
        </p:spPr>
      </p:pic>
      <p:pic>
        <p:nvPicPr>
          <p:cNvPr id="123" name="Picture 10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9517" y="4115792"/>
            <a:ext cx="255323" cy="554128"/>
          </a:xfrm>
          <a:prstGeom prst="rect">
            <a:avLst/>
          </a:prstGeom>
        </p:spPr>
      </p:pic>
      <p:pic>
        <p:nvPicPr>
          <p:cNvPr id="124" name="Picture 10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6300" y="4115792"/>
            <a:ext cx="255323" cy="554128"/>
          </a:xfrm>
          <a:prstGeom prst="rect">
            <a:avLst/>
          </a:prstGeom>
        </p:spPr>
      </p:pic>
      <p:pic>
        <p:nvPicPr>
          <p:cNvPr id="125" name="Picture 10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3083" y="4115792"/>
            <a:ext cx="255323" cy="554128"/>
          </a:xfrm>
          <a:prstGeom prst="rect">
            <a:avLst/>
          </a:prstGeom>
        </p:spPr>
      </p:pic>
      <p:pic>
        <p:nvPicPr>
          <p:cNvPr id="126" name="Picture 10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868" y="4115792"/>
            <a:ext cx="255323" cy="554128"/>
          </a:xfrm>
          <a:prstGeom prst="rect">
            <a:avLst/>
          </a:prstGeom>
        </p:spPr>
      </p:pic>
      <p:pic>
        <p:nvPicPr>
          <p:cNvPr id="127" name="Picture 11"/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413" y="4115792"/>
            <a:ext cx="217909" cy="553622"/>
          </a:xfrm>
          <a:prstGeom prst="rect">
            <a:avLst/>
          </a:prstGeom>
        </p:spPr>
      </p:pic>
      <p:pic>
        <p:nvPicPr>
          <p:cNvPr id="128" name="Picture 11"/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3181" y="4115792"/>
            <a:ext cx="217909" cy="553622"/>
          </a:xfrm>
          <a:prstGeom prst="rect">
            <a:avLst/>
          </a:prstGeom>
        </p:spPr>
      </p:pic>
      <p:pic>
        <p:nvPicPr>
          <p:cNvPr id="129" name="Picture 11"/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2949" y="4115792"/>
            <a:ext cx="217909" cy="553622"/>
          </a:xfrm>
          <a:prstGeom prst="rect">
            <a:avLst/>
          </a:prstGeom>
        </p:spPr>
      </p:pic>
      <p:pic>
        <p:nvPicPr>
          <p:cNvPr id="130" name="Picture 11"/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717" y="4115792"/>
            <a:ext cx="217909" cy="553622"/>
          </a:xfrm>
          <a:prstGeom prst="rect">
            <a:avLst/>
          </a:prstGeom>
        </p:spPr>
      </p:pic>
      <p:sp>
        <p:nvSpPr>
          <p:cNvPr id="131" name="文本框 130"/>
          <p:cNvSpPr txBox="1"/>
          <p:nvPr/>
        </p:nvSpPr>
        <p:spPr>
          <a:xfrm>
            <a:off x="5830246" y="2488019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32" name="矩形 131"/>
          <p:cNvSpPr/>
          <p:nvPr/>
        </p:nvSpPr>
        <p:spPr>
          <a:xfrm>
            <a:off x="7205109" y="2545734"/>
            <a:ext cx="4110421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en-US" altLang="zh-CN" cap="all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LATEST PRIZE TO CELEBRATE </a:t>
            </a:r>
            <a:endParaRPr lang="en-US" altLang="zh-CN" cap="all" dirty="0">
              <a:solidFill>
                <a:schemeClr val="bg1"/>
              </a:solidFill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  <a:p>
            <a:pPr fontAlgn="base"/>
            <a:r>
              <a:rPr lang="en-US" altLang="zh-CN" sz="4000" cap="all" dirty="0" smtClean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END </a:t>
            </a:r>
            <a:r>
              <a:rPr lang="en-US" altLang="zh-CN" sz="4000" cap="all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OF </a:t>
            </a:r>
            <a:r>
              <a:rPr lang="en-US" altLang="zh-CN" sz="4000" cap="all" dirty="0" smtClean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2014</a:t>
            </a:r>
            <a:endParaRPr lang="en-US" altLang="zh-CN" sz="4000" b="0" i="0" cap="all" dirty="0">
              <a:solidFill>
                <a:schemeClr val="bg1"/>
              </a:solidFill>
              <a:effectLst/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</p:txBody>
      </p:sp>
      <p:cxnSp>
        <p:nvCxnSpPr>
          <p:cNvPr id="133" name="直接连接符 132"/>
          <p:cNvCxnSpPr/>
          <p:nvPr/>
        </p:nvCxnSpPr>
        <p:spPr>
          <a:xfrm flipH="1">
            <a:off x="5978860" y="3469362"/>
            <a:ext cx="5128982" cy="0"/>
          </a:xfrm>
          <a:prstGeom prst="line">
            <a:avLst/>
          </a:prstGeom>
          <a:ln w="57150">
            <a:solidFill>
              <a:srgbClr val="EE35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矩形 133"/>
          <p:cNvSpPr/>
          <p:nvPr/>
        </p:nvSpPr>
        <p:spPr>
          <a:xfrm>
            <a:off x="5882057" y="3588334"/>
            <a:ext cx="52257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 err="1">
                <a:solidFill>
                  <a:schemeClr val="bg1"/>
                </a:solidFill>
              </a:rPr>
              <a:t>uxaqua's</a:t>
            </a:r>
            <a:r>
              <a:rPr lang="en-US" altLang="zh-CN" sz="12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pic>
        <p:nvPicPr>
          <p:cNvPr id="135" name="Picture 11"/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400" y="3342282"/>
            <a:ext cx="217909" cy="553622"/>
          </a:xfrm>
          <a:prstGeom prst="rect">
            <a:avLst/>
          </a:prstGeom>
        </p:spPr>
      </p:pic>
      <p:pic>
        <p:nvPicPr>
          <p:cNvPr id="136" name="Picture 11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2168" y="3342282"/>
            <a:ext cx="217909" cy="553622"/>
          </a:xfrm>
          <a:prstGeom prst="rect">
            <a:avLst/>
          </a:prstGeom>
        </p:spPr>
      </p:pic>
      <p:pic>
        <p:nvPicPr>
          <p:cNvPr id="137" name="Picture 11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936" y="3342282"/>
            <a:ext cx="217909" cy="553622"/>
          </a:xfrm>
          <a:prstGeom prst="rect">
            <a:avLst/>
          </a:prstGeom>
        </p:spPr>
      </p:pic>
      <p:pic>
        <p:nvPicPr>
          <p:cNvPr id="138" name="Picture 11"/>
          <p:cNvPicPr>
            <a:picLocks noChangeAspect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482" y="2575561"/>
            <a:ext cx="217909" cy="553622"/>
          </a:xfrm>
          <a:prstGeom prst="rect">
            <a:avLst/>
          </a:prstGeom>
        </p:spPr>
      </p:pic>
      <p:pic>
        <p:nvPicPr>
          <p:cNvPr id="139" name="Picture 11"/>
          <p:cNvPicPr>
            <a:picLocks noChangeAspect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6250" y="2575561"/>
            <a:ext cx="217909" cy="553622"/>
          </a:xfrm>
          <a:prstGeom prst="rect">
            <a:avLst/>
          </a:prstGeom>
        </p:spPr>
      </p:pic>
      <p:pic>
        <p:nvPicPr>
          <p:cNvPr id="140" name="Picture 11"/>
          <p:cNvPicPr>
            <a:picLocks noChangeAspect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018" y="2575561"/>
            <a:ext cx="217909" cy="553622"/>
          </a:xfrm>
          <a:prstGeom prst="rect">
            <a:avLst/>
          </a:prstGeom>
        </p:spPr>
      </p:pic>
      <p:pic>
        <p:nvPicPr>
          <p:cNvPr id="141" name="Picture 11"/>
          <p:cNvPicPr>
            <a:picLocks noChangeAspect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5786" y="2575561"/>
            <a:ext cx="217909" cy="553622"/>
          </a:xfrm>
          <a:prstGeom prst="rect">
            <a:avLst/>
          </a:prstGeom>
        </p:spPr>
      </p:pic>
      <p:pic>
        <p:nvPicPr>
          <p:cNvPr id="142" name="Picture 11"/>
          <p:cNvPicPr>
            <a:picLocks noChangeAspect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469" y="2595722"/>
            <a:ext cx="217909" cy="553622"/>
          </a:xfrm>
          <a:prstGeom prst="rect">
            <a:avLst/>
          </a:prstGeom>
        </p:spPr>
      </p:pic>
      <p:pic>
        <p:nvPicPr>
          <p:cNvPr id="143" name="Picture 11"/>
          <p:cNvPicPr>
            <a:picLocks noChangeAspect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5237" y="2595722"/>
            <a:ext cx="217909" cy="553622"/>
          </a:xfrm>
          <a:prstGeom prst="rect">
            <a:avLst/>
          </a:prstGeom>
        </p:spPr>
      </p:pic>
      <p:pic>
        <p:nvPicPr>
          <p:cNvPr id="144" name="Picture 11"/>
          <p:cNvPicPr>
            <a:picLocks noChangeAspect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GlowEdges trans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005" y="2595722"/>
            <a:ext cx="217909" cy="553622"/>
          </a:xfrm>
          <a:prstGeom prst="rect">
            <a:avLst/>
          </a:prstGeom>
        </p:spPr>
      </p:pic>
      <p:grpSp>
        <p:nvGrpSpPr>
          <p:cNvPr id="145" name="组合 144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6" name="组合 145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3" name="矩形 152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4" name="文本框 153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5" name="文本框 154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6" name="直接连接符 155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7" name="椭圆 156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8" name="文本框 157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7" name="组合 146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51" name="六边形 150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48" name="组合 147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9" name="六边形 148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0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92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7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1683257" y="1899193"/>
            <a:ext cx="2185498" cy="1009866"/>
            <a:chOff x="1683257" y="2044963"/>
            <a:chExt cx="2185498" cy="1009866"/>
          </a:xfrm>
        </p:grpSpPr>
        <p:grpSp>
          <p:nvGrpSpPr>
            <p:cNvPr id="8" name="组合 7"/>
            <p:cNvGrpSpPr/>
            <p:nvPr/>
          </p:nvGrpSpPr>
          <p:grpSpPr>
            <a:xfrm>
              <a:off x="1683257" y="2044963"/>
              <a:ext cx="2185498" cy="1009866"/>
              <a:chOff x="2333549" y="2271853"/>
              <a:chExt cx="2185498" cy="1009866"/>
            </a:xfrm>
          </p:grpSpPr>
          <p:sp>
            <p:nvSpPr>
              <p:cNvPr id="7" name="圆角矩形 6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6" name="圆角矩形 95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9" name="矩形 8"/>
            <p:cNvSpPr/>
            <p:nvPr/>
          </p:nvSpPr>
          <p:spPr>
            <a:xfrm>
              <a:off x="1813838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矩形 98"/>
            <p:cNvSpPr/>
            <p:nvPr/>
          </p:nvSpPr>
          <p:spPr>
            <a:xfrm>
              <a:off x="2087362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矩形 99"/>
            <p:cNvSpPr/>
            <p:nvPr/>
          </p:nvSpPr>
          <p:spPr>
            <a:xfrm>
              <a:off x="2361277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矩形 100"/>
            <p:cNvSpPr/>
            <p:nvPr/>
          </p:nvSpPr>
          <p:spPr>
            <a:xfrm>
              <a:off x="2635192" y="2171724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683257" y="3131686"/>
            <a:ext cx="2185498" cy="1009866"/>
            <a:chOff x="1683257" y="3246976"/>
            <a:chExt cx="2185498" cy="1009866"/>
          </a:xfrm>
        </p:grpSpPr>
        <p:grpSp>
          <p:nvGrpSpPr>
            <p:cNvPr id="105" name="组合 104"/>
            <p:cNvGrpSpPr/>
            <p:nvPr/>
          </p:nvGrpSpPr>
          <p:grpSpPr>
            <a:xfrm>
              <a:off x="1683257" y="3246976"/>
              <a:ext cx="2185498" cy="1009866"/>
              <a:chOff x="2333549" y="2271853"/>
              <a:chExt cx="2185498" cy="1009866"/>
            </a:xfrm>
          </p:grpSpPr>
          <p:sp>
            <p:nvSpPr>
              <p:cNvPr id="106" name="圆角矩形 105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7" name="圆角矩形 106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02" name="矩形 101"/>
            <p:cNvSpPr/>
            <p:nvPr/>
          </p:nvSpPr>
          <p:spPr>
            <a:xfrm>
              <a:off x="1813838" y="3378947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3" name="矩形 102"/>
            <p:cNvSpPr/>
            <p:nvPr/>
          </p:nvSpPr>
          <p:spPr>
            <a:xfrm>
              <a:off x="2087753" y="3378947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矩形 103"/>
            <p:cNvSpPr/>
            <p:nvPr/>
          </p:nvSpPr>
          <p:spPr>
            <a:xfrm>
              <a:off x="2361668" y="3383218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1683257" y="4385148"/>
            <a:ext cx="2185498" cy="1009866"/>
            <a:chOff x="1683257" y="4500438"/>
            <a:chExt cx="2185498" cy="1009866"/>
          </a:xfrm>
        </p:grpSpPr>
        <p:grpSp>
          <p:nvGrpSpPr>
            <p:cNvPr id="108" name="组合 107"/>
            <p:cNvGrpSpPr/>
            <p:nvPr/>
          </p:nvGrpSpPr>
          <p:grpSpPr>
            <a:xfrm>
              <a:off x="1683257" y="4500438"/>
              <a:ext cx="2185498" cy="1009866"/>
              <a:chOff x="2333549" y="2271853"/>
              <a:chExt cx="2185498" cy="1009866"/>
            </a:xfrm>
          </p:grpSpPr>
          <p:sp>
            <p:nvSpPr>
              <p:cNvPr id="116" name="圆角矩形 115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7" name="圆角矩形 116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18" name="矩形 117"/>
            <p:cNvSpPr/>
            <p:nvPr/>
          </p:nvSpPr>
          <p:spPr>
            <a:xfrm>
              <a:off x="1813838" y="4632409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5" name="矩形 144"/>
            <p:cNvSpPr/>
            <p:nvPr/>
          </p:nvSpPr>
          <p:spPr>
            <a:xfrm>
              <a:off x="2087753" y="4632409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6" name="文本框 145"/>
          <p:cNvSpPr txBox="1"/>
          <p:nvPr/>
        </p:nvSpPr>
        <p:spPr>
          <a:xfrm>
            <a:off x="4190386" y="1767240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47" name="文本框 146"/>
          <p:cNvSpPr txBox="1"/>
          <p:nvPr/>
        </p:nvSpPr>
        <p:spPr>
          <a:xfrm>
            <a:off x="4190386" y="3012881"/>
            <a:ext cx="141096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6</a:t>
            </a:r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48" name="文本框 147"/>
          <p:cNvSpPr txBox="1"/>
          <p:nvPr/>
        </p:nvSpPr>
        <p:spPr>
          <a:xfrm>
            <a:off x="4190386" y="4258522"/>
            <a:ext cx="138211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4</a:t>
            </a:r>
            <a:r>
              <a:rPr lang="en-US" altLang="zh-CN" sz="5400" dirty="0" smtClean="0">
                <a:solidFill>
                  <a:schemeClr val="bg1"/>
                </a:solidFill>
                <a:latin typeface="Impact" panose="020B0806030902050204" pitchFamily="34" charset="0"/>
              </a:rPr>
              <a:t>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pic>
        <p:nvPicPr>
          <p:cNvPr id="149" name="图片 148"/>
          <p:cNvPicPr>
            <a:picLocks noChangeAspect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>
            <a:fillRect/>
          </a:stretch>
        </p:blipFill>
        <p:spPr>
          <a:xfrm rot="5400000">
            <a:off x="5704292" y="2173848"/>
            <a:ext cx="183730" cy="171309"/>
          </a:xfrm>
          <a:prstGeom prst="rect">
            <a:avLst/>
          </a:prstGeom>
        </p:spPr>
      </p:pic>
      <p:pic>
        <p:nvPicPr>
          <p:cNvPr id="150" name="图片 149"/>
          <p:cNvPicPr>
            <a:picLocks noChangeAspect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>
            <a:fillRect/>
          </a:stretch>
        </p:blipFill>
        <p:spPr>
          <a:xfrm rot="5400000">
            <a:off x="5704292" y="3374737"/>
            <a:ext cx="183730" cy="171309"/>
          </a:xfrm>
          <a:prstGeom prst="rect">
            <a:avLst/>
          </a:prstGeom>
        </p:spPr>
      </p:pic>
      <p:pic>
        <p:nvPicPr>
          <p:cNvPr id="151" name="图片 150"/>
          <p:cNvPicPr>
            <a:picLocks noChangeAspect="1"/>
          </p:cNvPicPr>
          <p:nvPr/>
        </p:nvPicPr>
        <p:blipFill rotWithShape="1"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>
            <a:fillRect/>
          </a:stretch>
        </p:blipFill>
        <p:spPr>
          <a:xfrm rot="5400000">
            <a:off x="5704291" y="4666777"/>
            <a:ext cx="183730" cy="171309"/>
          </a:xfrm>
          <a:prstGeom prst="rect">
            <a:avLst/>
          </a:prstGeom>
        </p:spPr>
      </p:pic>
      <p:grpSp>
        <p:nvGrpSpPr>
          <p:cNvPr id="47" name="组合 46"/>
          <p:cNvGrpSpPr/>
          <p:nvPr/>
        </p:nvGrpSpPr>
        <p:grpSpPr>
          <a:xfrm>
            <a:off x="5898918" y="2041562"/>
            <a:ext cx="1710808" cy="388144"/>
            <a:chOff x="6637803" y="2055738"/>
            <a:chExt cx="1710808" cy="388144"/>
          </a:xfrm>
        </p:grpSpPr>
        <p:sp>
          <p:nvSpPr>
            <p:cNvPr id="152" name="文本框 151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</a:rPr>
                <a:t>2008~2009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53" name="文本框 152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54" name="矩形 153"/>
          <p:cNvSpPr/>
          <p:nvPr/>
        </p:nvSpPr>
        <p:spPr>
          <a:xfrm>
            <a:off x="7570459" y="2105444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55" name="组合 154"/>
          <p:cNvGrpSpPr/>
          <p:nvPr/>
        </p:nvGrpSpPr>
        <p:grpSpPr>
          <a:xfrm>
            <a:off x="5898918" y="3271747"/>
            <a:ext cx="1710808" cy="388144"/>
            <a:chOff x="6637803" y="2055738"/>
            <a:chExt cx="1710808" cy="388144"/>
          </a:xfrm>
        </p:grpSpPr>
        <p:sp>
          <p:nvSpPr>
            <p:cNvPr id="156" name="文本框 155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</a:rPr>
                <a:t>2008~2009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57" name="文本框 156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58" name="矩形 157"/>
          <p:cNvSpPr/>
          <p:nvPr/>
        </p:nvSpPr>
        <p:spPr>
          <a:xfrm>
            <a:off x="7570459" y="3335629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59" name="组合 158"/>
          <p:cNvGrpSpPr/>
          <p:nvPr/>
        </p:nvGrpSpPr>
        <p:grpSpPr>
          <a:xfrm>
            <a:off x="5889214" y="4535272"/>
            <a:ext cx="1710808" cy="388144"/>
            <a:chOff x="6637803" y="2055738"/>
            <a:chExt cx="1710808" cy="388144"/>
          </a:xfrm>
        </p:grpSpPr>
        <p:sp>
          <p:nvSpPr>
            <p:cNvPr id="160" name="文本框 159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</a:rPr>
                <a:t>2008~2009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61" name="文本框 160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62" name="矩形 161"/>
          <p:cNvSpPr/>
          <p:nvPr/>
        </p:nvSpPr>
        <p:spPr>
          <a:xfrm>
            <a:off x="7560755" y="4599154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63" name="组合 162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64" name="组合 163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71" name="矩形 17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2" name="文本框 17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73" name="文本框 17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74" name="直接连接符 17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椭圆 17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6" name="文本框 17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5" name="组合 164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69" name="六边形 16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66" name="组合 165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67" name="六边形 166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8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8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74" name="组合 73"/>
          <p:cNvGrpSpPr/>
          <p:nvPr/>
        </p:nvGrpSpPr>
        <p:grpSpPr>
          <a:xfrm>
            <a:off x="1297161" y="2013394"/>
            <a:ext cx="9730464" cy="1828530"/>
            <a:chOff x="710321" y="2128720"/>
            <a:chExt cx="10824958" cy="203420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71" name="组合 70"/>
            <p:cNvGrpSpPr/>
            <p:nvPr/>
          </p:nvGrpSpPr>
          <p:grpSpPr>
            <a:xfrm>
              <a:off x="710321" y="2128720"/>
              <a:ext cx="2034205" cy="2034205"/>
              <a:chOff x="443661" y="2309085"/>
              <a:chExt cx="2034205" cy="2034205"/>
            </a:xfrm>
          </p:grpSpPr>
          <p:sp>
            <p:nvSpPr>
              <p:cNvPr id="58" name="椭圆 57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0" name="矩形 69"/>
              <p:cNvSpPr/>
              <p:nvPr/>
            </p:nvSpPr>
            <p:spPr>
              <a:xfrm>
                <a:off x="1428208" y="2309085"/>
                <a:ext cx="1045581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09" name="组合 108"/>
            <p:cNvGrpSpPr/>
            <p:nvPr/>
          </p:nvGrpSpPr>
          <p:grpSpPr>
            <a:xfrm>
              <a:off x="3639213" y="2128720"/>
              <a:ext cx="2034205" cy="2034205"/>
              <a:chOff x="443661" y="2309085"/>
              <a:chExt cx="2034205" cy="2034205"/>
            </a:xfrm>
          </p:grpSpPr>
          <p:sp>
            <p:nvSpPr>
              <p:cNvPr id="110" name="椭圆 109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1" name="矩形 110"/>
              <p:cNvSpPr/>
              <p:nvPr/>
            </p:nvSpPr>
            <p:spPr>
              <a:xfrm>
                <a:off x="1428208" y="2309085"/>
                <a:ext cx="1042939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12" name="组合 111"/>
            <p:cNvGrpSpPr/>
            <p:nvPr/>
          </p:nvGrpSpPr>
          <p:grpSpPr>
            <a:xfrm>
              <a:off x="6568105" y="2128720"/>
              <a:ext cx="2034206" cy="2034205"/>
              <a:chOff x="443661" y="2309085"/>
              <a:chExt cx="2034206" cy="2034205"/>
            </a:xfrm>
          </p:grpSpPr>
          <p:sp>
            <p:nvSpPr>
              <p:cNvPr id="113" name="椭圆 112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4" name="矩形 113"/>
              <p:cNvSpPr/>
              <p:nvPr/>
            </p:nvSpPr>
            <p:spPr>
              <a:xfrm>
                <a:off x="1428209" y="2309085"/>
                <a:ext cx="1049658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15" name="组合 114"/>
            <p:cNvGrpSpPr/>
            <p:nvPr/>
          </p:nvGrpSpPr>
          <p:grpSpPr>
            <a:xfrm>
              <a:off x="9496997" y="2128720"/>
              <a:ext cx="2038282" cy="2034205"/>
              <a:chOff x="443661" y="2309085"/>
              <a:chExt cx="2038282" cy="2034205"/>
            </a:xfrm>
          </p:grpSpPr>
          <p:sp>
            <p:nvSpPr>
              <p:cNvPr id="119" name="椭圆 118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0" name="矩形 119"/>
              <p:cNvSpPr/>
              <p:nvPr/>
            </p:nvSpPr>
            <p:spPr>
              <a:xfrm>
                <a:off x="1428208" y="2309085"/>
                <a:ext cx="1053735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72" name="图片 71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 flipH="1">
              <a:off x="3030779" y="3019547"/>
              <a:ext cx="318104" cy="325815"/>
            </a:xfrm>
            <a:prstGeom prst="rect">
              <a:avLst/>
            </a:prstGeom>
          </p:spPr>
        </p:pic>
        <p:pic>
          <p:nvPicPr>
            <p:cNvPr id="121" name="图片 120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 flipH="1">
              <a:off x="8902742" y="3039718"/>
              <a:ext cx="318104" cy="325815"/>
            </a:xfrm>
            <a:prstGeom prst="rect">
              <a:avLst/>
            </a:prstGeom>
          </p:spPr>
        </p:pic>
        <p:pic>
          <p:nvPicPr>
            <p:cNvPr id="122" name="图片 121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 flipH="1">
              <a:off x="5939021" y="3019547"/>
              <a:ext cx="318104" cy="325815"/>
            </a:xfrm>
            <a:prstGeom prst="rect">
              <a:avLst/>
            </a:prstGeom>
          </p:spPr>
        </p:pic>
        <p:grpSp>
          <p:nvGrpSpPr>
            <p:cNvPr id="123" name="Group 15"/>
            <p:cNvGrpSpPr/>
            <p:nvPr/>
          </p:nvGrpSpPr>
          <p:grpSpPr bwMode="black">
            <a:xfrm>
              <a:off x="1251750" y="2697808"/>
              <a:ext cx="969985" cy="788919"/>
              <a:chOff x="5184775" y="225425"/>
              <a:chExt cx="1500188" cy="1220788"/>
            </a:xfrm>
            <a:solidFill>
              <a:srgbClr val="EE3551"/>
            </a:solidFill>
          </p:grpSpPr>
          <p:sp>
            <p:nvSpPr>
              <p:cNvPr id="124" name="Freeform 16"/>
              <p:cNvSpPr>
                <a:spLocks noEditPoints="1"/>
              </p:cNvSpPr>
              <p:nvPr/>
            </p:nvSpPr>
            <p:spPr bwMode="black">
              <a:xfrm>
                <a:off x="5184775" y="344488"/>
                <a:ext cx="1095375" cy="1101725"/>
              </a:xfrm>
              <a:custGeom>
                <a:avLst/>
                <a:gdLst>
                  <a:gd name="T0" fmla="*/ 287 w 292"/>
                  <a:gd name="T1" fmla="*/ 113 h 294"/>
                  <a:gd name="T2" fmla="*/ 239 w 292"/>
                  <a:gd name="T3" fmla="*/ 105 h 294"/>
                  <a:gd name="T4" fmla="*/ 252 w 292"/>
                  <a:gd name="T5" fmla="*/ 58 h 294"/>
                  <a:gd name="T6" fmla="*/ 229 w 292"/>
                  <a:gd name="T7" fmla="*/ 32 h 294"/>
                  <a:gd name="T8" fmla="*/ 187 w 292"/>
                  <a:gd name="T9" fmla="*/ 57 h 294"/>
                  <a:gd name="T10" fmla="*/ 167 w 292"/>
                  <a:gd name="T11" fmla="*/ 6 h 294"/>
                  <a:gd name="T12" fmla="*/ 132 w 292"/>
                  <a:gd name="T13" fmla="*/ 0 h 294"/>
                  <a:gd name="T14" fmla="*/ 115 w 292"/>
                  <a:gd name="T15" fmla="*/ 53 h 294"/>
                  <a:gd name="T16" fmla="*/ 72 w 292"/>
                  <a:gd name="T17" fmla="*/ 31 h 294"/>
                  <a:gd name="T18" fmla="*/ 42 w 292"/>
                  <a:gd name="T19" fmla="*/ 49 h 294"/>
                  <a:gd name="T20" fmla="*/ 59 w 292"/>
                  <a:gd name="T21" fmla="*/ 95 h 294"/>
                  <a:gd name="T22" fmla="*/ 12 w 292"/>
                  <a:gd name="T23" fmla="*/ 107 h 294"/>
                  <a:gd name="T24" fmla="*/ 0 w 292"/>
                  <a:gd name="T25" fmla="*/ 140 h 294"/>
                  <a:gd name="T26" fmla="*/ 43 w 292"/>
                  <a:gd name="T27" fmla="*/ 164 h 294"/>
                  <a:gd name="T28" fmla="*/ 14 w 292"/>
                  <a:gd name="T29" fmla="*/ 204 h 294"/>
                  <a:gd name="T30" fmla="*/ 27 w 292"/>
                  <a:gd name="T31" fmla="*/ 237 h 294"/>
                  <a:gd name="T32" fmla="*/ 75 w 292"/>
                  <a:gd name="T33" fmla="*/ 227 h 294"/>
                  <a:gd name="T34" fmla="*/ 79 w 292"/>
                  <a:gd name="T35" fmla="*/ 276 h 294"/>
                  <a:gd name="T36" fmla="*/ 109 w 292"/>
                  <a:gd name="T37" fmla="*/ 293 h 294"/>
                  <a:gd name="T38" fmla="*/ 140 w 292"/>
                  <a:gd name="T39" fmla="*/ 255 h 294"/>
                  <a:gd name="T40" fmla="*/ 152 w 292"/>
                  <a:gd name="T41" fmla="*/ 255 h 294"/>
                  <a:gd name="T42" fmla="*/ 183 w 292"/>
                  <a:gd name="T43" fmla="*/ 293 h 294"/>
                  <a:gd name="T44" fmla="*/ 213 w 292"/>
                  <a:gd name="T45" fmla="*/ 276 h 294"/>
                  <a:gd name="T46" fmla="*/ 217 w 292"/>
                  <a:gd name="T47" fmla="*/ 227 h 294"/>
                  <a:gd name="T48" fmla="*/ 265 w 292"/>
                  <a:gd name="T49" fmla="*/ 237 h 294"/>
                  <a:gd name="T50" fmla="*/ 278 w 292"/>
                  <a:gd name="T51" fmla="*/ 204 h 294"/>
                  <a:gd name="T52" fmla="*/ 249 w 292"/>
                  <a:gd name="T53" fmla="*/ 164 h 294"/>
                  <a:gd name="T54" fmla="*/ 292 w 292"/>
                  <a:gd name="T55" fmla="*/ 140 h 294"/>
                  <a:gd name="T56" fmla="*/ 187 w 292"/>
                  <a:gd name="T57" fmla="*/ 193 h 294"/>
                  <a:gd name="T58" fmla="*/ 105 w 292"/>
                  <a:gd name="T59" fmla="*/ 193 h 294"/>
                  <a:gd name="T60" fmla="*/ 105 w 292"/>
                  <a:gd name="T61" fmla="*/ 111 h 294"/>
                  <a:gd name="T62" fmla="*/ 187 w 292"/>
                  <a:gd name="T63" fmla="*/ 111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2" h="294">
                    <a:moveTo>
                      <a:pt x="292" y="140"/>
                    </a:moveTo>
                    <a:cubicBezTo>
                      <a:pt x="287" y="113"/>
                      <a:pt x="287" y="113"/>
                      <a:pt x="287" y="113"/>
                    </a:cubicBezTo>
                    <a:cubicBezTo>
                      <a:pt x="286" y="110"/>
                      <a:pt x="284" y="108"/>
                      <a:pt x="280" y="107"/>
                    </a:cubicBezTo>
                    <a:cubicBezTo>
                      <a:pt x="239" y="105"/>
                      <a:pt x="239" y="105"/>
                      <a:pt x="239" y="105"/>
                    </a:cubicBezTo>
                    <a:cubicBezTo>
                      <a:pt x="237" y="102"/>
                      <a:pt x="235" y="98"/>
                      <a:pt x="233" y="95"/>
                    </a:cubicBezTo>
                    <a:cubicBezTo>
                      <a:pt x="252" y="58"/>
                      <a:pt x="252" y="58"/>
                      <a:pt x="252" y="58"/>
                    </a:cubicBezTo>
                    <a:cubicBezTo>
                      <a:pt x="254" y="55"/>
                      <a:pt x="253" y="51"/>
                      <a:pt x="250" y="49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7" y="29"/>
                      <a:pt x="223" y="29"/>
                      <a:pt x="220" y="31"/>
                    </a:cubicBezTo>
                    <a:cubicBezTo>
                      <a:pt x="187" y="57"/>
                      <a:pt x="187" y="57"/>
                      <a:pt x="187" y="57"/>
                    </a:cubicBezTo>
                    <a:cubicBezTo>
                      <a:pt x="184" y="55"/>
                      <a:pt x="181" y="54"/>
                      <a:pt x="177" y="53"/>
                    </a:cubicBezTo>
                    <a:cubicBezTo>
                      <a:pt x="167" y="6"/>
                      <a:pt x="167" y="6"/>
                      <a:pt x="167" y="6"/>
                    </a:cubicBezTo>
                    <a:cubicBezTo>
                      <a:pt x="166" y="3"/>
                      <a:pt x="163" y="0"/>
                      <a:pt x="160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9" y="0"/>
                      <a:pt x="126" y="3"/>
                      <a:pt x="125" y="6"/>
                    </a:cubicBezTo>
                    <a:cubicBezTo>
                      <a:pt x="115" y="53"/>
                      <a:pt x="115" y="53"/>
                      <a:pt x="115" y="53"/>
                    </a:cubicBezTo>
                    <a:cubicBezTo>
                      <a:pt x="111" y="54"/>
                      <a:pt x="108" y="55"/>
                      <a:pt x="105" y="57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69" y="29"/>
                      <a:pt x="65" y="29"/>
                      <a:pt x="63" y="31"/>
                    </a:cubicBezTo>
                    <a:cubicBezTo>
                      <a:pt x="42" y="49"/>
                      <a:pt x="42" y="49"/>
                      <a:pt x="42" y="49"/>
                    </a:cubicBezTo>
                    <a:cubicBezTo>
                      <a:pt x="39" y="51"/>
                      <a:pt x="39" y="55"/>
                      <a:pt x="40" y="58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57" y="98"/>
                      <a:pt x="55" y="102"/>
                      <a:pt x="53" y="105"/>
                    </a:cubicBezTo>
                    <a:cubicBezTo>
                      <a:pt x="12" y="107"/>
                      <a:pt x="12" y="107"/>
                      <a:pt x="12" y="107"/>
                    </a:cubicBezTo>
                    <a:cubicBezTo>
                      <a:pt x="8" y="107"/>
                      <a:pt x="6" y="110"/>
                      <a:pt x="5" y="113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43"/>
                      <a:pt x="1" y="147"/>
                      <a:pt x="4" y="148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4" y="168"/>
                      <a:pt x="44" y="172"/>
                      <a:pt x="45" y="176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2" y="206"/>
                      <a:pt x="11" y="210"/>
                      <a:pt x="13" y="213"/>
                    </a:cubicBezTo>
                    <a:cubicBezTo>
                      <a:pt x="27" y="237"/>
                      <a:pt x="27" y="237"/>
                      <a:pt x="27" y="237"/>
                    </a:cubicBezTo>
                    <a:cubicBezTo>
                      <a:pt x="28" y="239"/>
                      <a:pt x="32" y="241"/>
                      <a:pt x="35" y="240"/>
                    </a:cubicBezTo>
                    <a:cubicBezTo>
                      <a:pt x="75" y="227"/>
                      <a:pt x="75" y="227"/>
                      <a:pt x="75" y="227"/>
                    </a:cubicBezTo>
                    <a:cubicBezTo>
                      <a:pt x="78" y="230"/>
                      <a:pt x="81" y="233"/>
                      <a:pt x="84" y="235"/>
                    </a:cubicBezTo>
                    <a:cubicBezTo>
                      <a:pt x="79" y="276"/>
                      <a:pt x="79" y="276"/>
                      <a:pt x="79" y="276"/>
                    </a:cubicBezTo>
                    <a:cubicBezTo>
                      <a:pt x="78" y="280"/>
                      <a:pt x="80" y="283"/>
                      <a:pt x="83" y="284"/>
                    </a:cubicBezTo>
                    <a:cubicBezTo>
                      <a:pt x="109" y="293"/>
                      <a:pt x="109" y="293"/>
                      <a:pt x="109" y="293"/>
                    </a:cubicBezTo>
                    <a:cubicBezTo>
                      <a:pt x="112" y="294"/>
                      <a:pt x="116" y="293"/>
                      <a:pt x="118" y="291"/>
                    </a:cubicBezTo>
                    <a:cubicBezTo>
                      <a:pt x="140" y="255"/>
                      <a:pt x="140" y="255"/>
                      <a:pt x="140" y="255"/>
                    </a:cubicBezTo>
                    <a:cubicBezTo>
                      <a:pt x="142" y="255"/>
                      <a:pt x="144" y="256"/>
                      <a:pt x="146" y="256"/>
                    </a:cubicBezTo>
                    <a:cubicBezTo>
                      <a:pt x="148" y="256"/>
                      <a:pt x="150" y="255"/>
                      <a:pt x="152" y="255"/>
                    </a:cubicBezTo>
                    <a:cubicBezTo>
                      <a:pt x="174" y="291"/>
                      <a:pt x="174" y="291"/>
                      <a:pt x="174" y="291"/>
                    </a:cubicBezTo>
                    <a:cubicBezTo>
                      <a:pt x="176" y="293"/>
                      <a:pt x="180" y="294"/>
                      <a:pt x="183" y="293"/>
                    </a:cubicBezTo>
                    <a:cubicBezTo>
                      <a:pt x="209" y="284"/>
                      <a:pt x="209" y="284"/>
                      <a:pt x="209" y="284"/>
                    </a:cubicBezTo>
                    <a:cubicBezTo>
                      <a:pt x="212" y="283"/>
                      <a:pt x="214" y="280"/>
                      <a:pt x="213" y="276"/>
                    </a:cubicBezTo>
                    <a:cubicBezTo>
                      <a:pt x="208" y="235"/>
                      <a:pt x="208" y="235"/>
                      <a:pt x="208" y="235"/>
                    </a:cubicBezTo>
                    <a:cubicBezTo>
                      <a:pt x="211" y="232"/>
                      <a:pt x="214" y="230"/>
                      <a:pt x="217" y="227"/>
                    </a:cubicBezTo>
                    <a:cubicBezTo>
                      <a:pt x="257" y="240"/>
                      <a:pt x="257" y="240"/>
                      <a:pt x="257" y="240"/>
                    </a:cubicBezTo>
                    <a:cubicBezTo>
                      <a:pt x="260" y="241"/>
                      <a:pt x="264" y="239"/>
                      <a:pt x="265" y="237"/>
                    </a:cubicBezTo>
                    <a:cubicBezTo>
                      <a:pt x="279" y="213"/>
                      <a:pt x="279" y="213"/>
                      <a:pt x="279" y="213"/>
                    </a:cubicBezTo>
                    <a:cubicBezTo>
                      <a:pt x="281" y="210"/>
                      <a:pt x="280" y="206"/>
                      <a:pt x="278" y="204"/>
                    </a:cubicBezTo>
                    <a:cubicBezTo>
                      <a:pt x="247" y="176"/>
                      <a:pt x="247" y="176"/>
                      <a:pt x="247" y="176"/>
                    </a:cubicBezTo>
                    <a:cubicBezTo>
                      <a:pt x="248" y="172"/>
                      <a:pt x="248" y="168"/>
                      <a:pt x="249" y="164"/>
                    </a:cubicBezTo>
                    <a:cubicBezTo>
                      <a:pt x="288" y="148"/>
                      <a:pt x="288" y="148"/>
                      <a:pt x="288" y="148"/>
                    </a:cubicBezTo>
                    <a:cubicBezTo>
                      <a:pt x="291" y="147"/>
                      <a:pt x="292" y="144"/>
                      <a:pt x="292" y="140"/>
                    </a:cubicBezTo>
                    <a:close/>
                    <a:moveTo>
                      <a:pt x="204" y="152"/>
                    </a:moveTo>
                    <a:cubicBezTo>
                      <a:pt x="204" y="168"/>
                      <a:pt x="197" y="182"/>
                      <a:pt x="187" y="193"/>
                    </a:cubicBezTo>
                    <a:cubicBezTo>
                      <a:pt x="176" y="203"/>
                      <a:pt x="162" y="210"/>
                      <a:pt x="146" y="210"/>
                    </a:cubicBezTo>
                    <a:cubicBezTo>
                      <a:pt x="130" y="210"/>
                      <a:pt x="116" y="203"/>
                      <a:pt x="105" y="193"/>
                    </a:cubicBezTo>
                    <a:cubicBezTo>
                      <a:pt x="95" y="182"/>
                      <a:pt x="88" y="168"/>
                      <a:pt x="88" y="152"/>
                    </a:cubicBezTo>
                    <a:cubicBezTo>
                      <a:pt x="88" y="136"/>
                      <a:pt x="95" y="121"/>
                      <a:pt x="105" y="111"/>
                    </a:cubicBezTo>
                    <a:cubicBezTo>
                      <a:pt x="116" y="100"/>
                      <a:pt x="130" y="94"/>
                      <a:pt x="146" y="94"/>
                    </a:cubicBezTo>
                    <a:cubicBezTo>
                      <a:pt x="162" y="94"/>
                      <a:pt x="176" y="100"/>
                      <a:pt x="187" y="111"/>
                    </a:cubicBezTo>
                    <a:cubicBezTo>
                      <a:pt x="197" y="121"/>
                      <a:pt x="204" y="136"/>
                      <a:pt x="204" y="15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5" name="Oval 17"/>
              <p:cNvSpPr>
                <a:spLocks noChangeArrowheads="1"/>
              </p:cNvSpPr>
              <p:nvPr/>
            </p:nvSpPr>
            <p:spPr bwMode="black">
              <a:xfrm>
                <a:off x="5630863" y="812800"/>
                <a:ext cx="203200" cy="20320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6" name="Freeform 18"/>
              <p:cNvSpPr>
                <a:spLocks noEditPoints="1"/>
              </p:cNvSpPr>
              <p:nvPr/>
            </p:nvSpPr>
            <p:spPr bwMode="black">
              <a:xfrm>
                <a:off x="6129338" y="225425"/>
                <a:ext cx="555625" cy="598488"/>
              </a:xfrm>
              <a:custGeom>
                <a:avLst/>
                <a:gdLst>
                  <a:gd name="T0" fmla="*/ 129 w 148"/>
                  <a:gd name="T1" fmla="*/ 91 h 160"/>
                  <a:gd name="T2" fmla="*/ 131 w 148"/>
                  <a:gd name="T3" fmla="*/ 80 h 160"/>
                  <a:gd name="T4" fmla="*/ 129 w 148"/>
                  <a:gd name="T5" fmla="*/ 70 h 160"/>
                  <a:gd name="T6" fmla="*/ 145 w 148"/>
                  <a:gd name="T7" fmla="*/ 55 h 160"/>
                  <a:gd name="T8" fmla="*/ 147 w 148"/>
                  <a:gd name="T9" fmla="*/ 50 h 160"/>
                  <a:gd name="T10" fmla="*/ 147 w 148"/>
                  <a:gd name="T11" fmla="*/ 46 h 160"/>
                  <a:gd name="T12" fmla="*/ 140 w 148"/>
                  <a:gd name="T13" fmla="*/ 34 h 160"/>
                  <a:gd name="T14" fmla="*/ 133 w 148"/>
                  <a:gd name="T15" fmla="*/ 31 h 160"/>
                  <a:gd name="T16" fmla="*/ 131 w 148"/>
                  <a:gd name="T17" fmla="*/ 31 h 160"/>
                  <a:gd name="T18" fmla="*/ 111 w 148"/>
                  <a:gd name="T19" fmla="*/ 37 h 160"/>
                  <a:gd name="T20" fmla="*/ 92 w 148"/>
                  <a:gd name="T21" fmla="*/ 27 h 160"/>
                  <a:gd name="T22" fmla="*/ 88 w 148"/>
                  <a:gd name="T23" fmla="*/ 6 h 160"/>
                  <a:gd name="T24" fmla="*/ 81 w 148"/>
                  <a:gd name="T25" fmla="*/ 0 h 160"/>
                  <a:gd name="T26" fmla="*/ 67 w 148"/>
                  <a:gd name="T27" fmla="*/ 0 h 160"/>
                  <a:gd name="T28" fmla="*/ 60 w 148"/>
                  <a:gd name="T29" fmla="*/ 6 h 160"/>
                  <a:gd name="T30" fmla="*/ 55 w 148"/>
                  <a:gd name="T31" fmla="*/ 27 h 160"/>
                  <a:gd name="T32" fmla="*/ 37 w 148"/>
                  <a:gd name="T33" fmla="*/ 38 h 160"/>
                  <a:gd name="T34" fmla="*/ 16 w 148"/>
                  <a:gd name="T35" fmla="*/ 31 h 160"/>
                  <a:gd name="T36" fmla="*/ 14 w 148"/>
                  <a:gd name="T37" fmla="*/ 31 h 160"/>
                  <a:gd name="T38" fmla="*/ 8 w 148"/>
                  <a:gd name="T39" fmla="*/ 34 h 160"/>
                  <a:gd name="T40" fmla="*/ 1 w 148"/>
                  <a:gd name="T41" fmla="*/ 46 h 160"/>
                  <a:gd name="T42" fmla="*/ 0 w 148"/>
                  <a:gd name="T43" fmla="*/ 50 h 160"/>
                  <a:gd name="T44" fmla="*/ 2 w 148"/>
                  <a:gd name="T45" fmla="*/ 55 h 160"/>
                  <a:gd name="T46" fmla="*/ 19 w 148"/>
                  <a:gd name="T47" fmla="*/ 70 h 160"/>
                  <a:gd name="T48" fmla="*/ 17 w 148"/>
                  <a:gd name="T49" fmla="*/ 80 h 160"/>
                  <a:gd name="T50" fmla="*/ 19 w 148"/>
                  <a:gd name="T51" fmla="*/ 91 h 160"/>
                  <a:gd name="T52" fmla="*/ 2 w 148"/>
                  <a:gd name="T53" fmla="*/ 106 h 160"/>
                  <a:gd name="T54" fmla="*/ 0 w 148"/>
                  <a:gd name="T55" fmla="*/ 111 h 160"/>
                  <a:gd name="T56" fmla="*/ 1 w 148"/>
                  <a:gd name="T57" fmla="*/ 114 h 160"/>
                  <a:gd name="T58" fmla="*/ 8 w 148"/>
                  <a:gd name="T59" fmla="*/ 126 h 160"/>
                  <a:gd name="T60" fmla="*/ 14 w 148"/>
                  <a:gd name="T61" fmla="*/ 130 h 160"/>
                  <a:gd name="T62" fmla="*/ 16 w 148"/>
                  <a:gd name="T63" fmla="*/ 130 h 160"/>
                  <a:gd name="T64" fmla="*/ 37 w 148"/>
                  <a:gd name="T65" fmla="*/ 123 h 160"/>
                  <a:gd name="T66" fmla="*/ 55 w 148"/>
                  <a:gd name="T67" fmla="*/ 133 h 160"/>
                  <a:gd name="T68" fmla="*/ 60 w 148"/>
                  <a:gd name="T69" fmla="*/ 155 h 160"/>
                  <a:gd name="T70" fmla="*/ 67 w 148"/>
                  <a:gd name="T71" fmla="*/ 160 h 160"/>
                  <a:gd name="T72" fmla="*/ 81 w 148"/>
                  <a:gd name="T73" fmla="*/ 160 h 160"/>
                  <a:gd name="T74" fmla="*/ 88 w 148"/>
                  <a:gd name="T75" fmla="*/ 155 h 160"/>
                  <a:gd name="T76" fmla="*/ 92 w 148"/>
                  <a:gd name="T77" fmla="*/ 134 h 160"/>
                  <a:gd name="T78" fmla="*/ 111 w 148"/>
                  <a:gd name="T79" fmla="*/ 123 h 160"/>
                  <a:gd name="T80" fmla="*/ 131 w 148"/>
                  <a:gd name="T81" fmla="*/ 130 h 160"/>
                  <a:gd name="T82" fmla="*/ 133 w 148"/>
                  <a:gd name="T83" fmla="*/ 130 h 160"/>
                  <a:gd name="T84" fmla="*/ 140 w 148"/>
                  <a:gd name="T85" fmla="*/ 126 h 160"/>
                  <a:gd name="T86" fmla="*/ 147 w 148"/>
                  <a:gd name="T87" fmla="*/ 114 h 160"/>
                  <a:gd name="T88" fmla="*/ 147 w 148"/>
                  <a:gd name="T89" fmla="*/ 111 h 160"/>
                  <a:gd name="T90" fmla="*/ 145 w 148"/>
                  <a:gd name="T91" fmla="*/ 106 h 160"/>
                  <a:gd name="T92" fmla="*/ 129 w 148"/>
                  <a:gd name="T93" fmla="*/ 91 h 160"/>
                  <a:gd name="T94" fmla="*/ 96 w 148"/>
                  <a:gd name="T95" fmla="*/ 80 h 160"/>
                  <a:gd name="T96" fmla="*/ 74 w 148"/>
                  <a:gd name="T97" fmla="*/ 102 h 160"/>
                  <a:gd name="T98" fmla="*/ 52 w 148"/>
                  <a:gd name="T99" fmla="*/ 80 h 160"/>
                  <a:gd name="T100" fmla="*/ 74 w 148"/>
                  <a:gd name="T101" fmla="*/ 58 h 160"/>
                  <a:gd name="T102" fmla="*/ 96 w 148"/>
                  <a:gd name="T103" fmla="*/ 8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8" h="160">
                    <a:moveTo>
                      <a:pt x="129" y="91"/>
                    </a:moveTo>
                    <a:cubicBezTo>
                      <a:pt x="130" y="88"/>
                      <a:pt x="131" y="84"/>
                      <a:pt x="131" y="80"/>
                    </a:cubicBezTo>
                    <a:cubicBezTo>
                      <a:pt x="131" y="77"/>
                      <a:pt x="130" y="73"/>
                      <a:pt x="129" y="70"/>
                    </a:cubicBezTo>
                    <a:cubicBezTo>
                      <a:pt x="145" y="55"/>
                      <a:pt x="145" y="55"/>
                      <a:pt x="145" y="55"/>
                    </a:cubicBezTo>
                    <a:cubicBezTo>
                      <a:pt x="147" y="54"/>
                      <a:pt x="147" y="52"/>
                      <a:pt x="147" y="50"/>
                    </a:cubicBezTo>
                    <a:cubicBezTo>
                      <a:pt x="147" y="49"/>
                      <a:pt x="147" y="47"/>
                      <a:pt x="147" y="46"/>
                    </a:cubicBezTo>
                    <a:cubicBezTo>
                      <a:pt x="140" y="34"/>
                      <a:pt x="140" y="34"/>
                      <a:pt x="140" y="34"/>
                    </a:cubicBezTo>
                    <a:cubicBezTo>
                      <a:pt x="138" y="32"/>
                      <a:pt x="136" y="31"/>
                      <a:pt x="133" y="31"/>
                    </a:cubicBezTo>
                    <a:cubicBezTo>
                      <a:pt x="133" y="31"/>
                      <a:pt x="132" y="31"/>
                      <a:pt x="131" y="31"/>
                    </a:cubicBezTo>
                    <a:cubicBezTo>
                      <a:pt x="111" y="37"/>
                      <a:pt x="111" y="37"/>
                      <a:pt x="111" y="37"/>
                    </a:cubicBezTo>
                    <a:cubicBezTo>
                      <a:pt x="105" y="33"/>
                      <a:pt x="99" y="29"/>
                      <a:pt x="92" y="27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87" y="3"/>
                      <a:pt x="84" y="0"/>
                      <a:pt x="81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3" y="0"/>
                      <a:pt x="61" y="3"/>
                      <a:pt x="60" y="6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48" y="29"/>
                      <a:pt x="42" y="33"/>
                      <a:pt x="37" y="38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5" y="31"/>
                      <a:pt x="15" y="31"/>
                      <a:pt x="14" y="31"/>
                    </a:cubicBezTo>
                    <a:cubicBezTo>
                      <a:pt x="12" y="31"/>
                      <a:pt x="9" y="32"/>
                      <a:pt x="8" y="34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0" y="47"/>
                      <a:pt x="0" y="49"/>
                      <a:pt x="0" y="50"/>
                    </a:cubicBezTo>
                    <a:cubicBezTo>
                      <a:pt x="0" y="52"/>
                      <a:pt x="1" y="54"/>
                      <a:pt x="2" y="55"/>
                    </a:cubicBezTo>
                    <a:cubicBezTo>
                      <a:pt x="19" y="70"/>
                      <a:pt x="19" y="70"/>
                      <a:pt x="19" y="70"/>
                    </a:cubicBezTo>
                    <a:cubicBezTo>
                      <a:pt x="18" y="73"/>
                      <a:pt x="17" y="77"/>
                      <a:pt x="17" y="80"/>
                    </a:cubicBezTo>
                    <a:cubicBezTo>
                      <a:pt x="17" y="84"/>
                      <a:pt x="18" y="87"/>
                      <a:pt x="19" y="91"/>
                    </a:cubicBezTo>
                    <a:cubicBezTo>
                      <a:pt x="2" y="106"/>
                      <a:pt x="2" y="106"/>
                      <a:pt x="2" y="106"/>
                    </a:cubicBezTo>
                    <a:cubicBezTo>
                      <a:pt x="1" y="107"/>
                      <a:pt x="0" y="109"/>
                      <a:pt x="0" y="111"/>
                    </a:cubicBezTo>
                    <a:cubicBezTo>
                      <a:pt x="0" y="112"/>
                      <a:pt x="0" y="113"/>
                      <a:pt x="1" y="114"/>
                    </a:cubicBezTo>
                    <a:cubicBezTo>
                      <a:pt x="8" y="126"/>
                      <a:pt x="8" y="126"/>
                      <a:pt x="8" y="126"/>
                    </a:cubicBezTo>
                    <a:cubicBezTo>
                      <a:pt x="9" y="129"/>
                      <a:pt x="12" y="130"/>
                      <a:pt x="14" y="130"/>
                    </a:cubicBezTo>
                    <a:cubicBezTo>
                      <a:pt x="15" y="130"/>
                      <a:pt x="15" y="130"/>
                      <a:pt x="16" y="130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42" y="127"/>
                      <a:pt x="48" y="131"/>
                      <a:pt x="55" y="133"/>
                    </a:cubicBezTo>
                    <a:cubicBezTo>
                      <a:pt x="60" y="155"/>
                      <a:pt x="60" y="155"/>
                      <a:pt x="60" y="155"/>
                    </a:cubicBezTo>
                    <a:cubicBezTo>
                      <a:pt x="61" y="158"/>
                      <a:pt x="63" y="160"/>
                      <a:pt x="67" y="160"/>
                    </a:cubicBezTo>
                    <a:cubicBezTo>
                      <a:pt x="81" y="160"/>
                      <a:pt x="81" y="160"/>
                      <a:pt x="81" y="160"/>
                    </a:cubicBezTo>
                    <a:cubicBezTo>
                      <a:pt x="84" y="160"/>
                      <a:pt x="87" y="158"/>
                      <a:pt x="88" y="155"/>
                    </a:cubicBezTo>
                    <a:cubicBezTo>
                      <a:pt x="92" y="134"/>
                      <a:pt x="92" y="134"/>
                      <a:pt x="92" y="134"/>
                    </a:cubicBezTo>
                    <a:cubicBezTo>
                      <a:pt x="99" y="131"/>
                      <a:pt x="105" y="128"/>
                      <a:pt x="111" y="123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132" y="130"/>
                      <a:pt x="133" y="130"/>
                      <a:pt x="133" y="130"/>
                    </a:cubicBezTo>
                    <a:cubicBezTo>
                      <a:pt x="136" y="130"/>
                      <a:pt x="138" y="129"/>
                      <a:pt x="140" y="126"/>
                    </a:cubicBezTo>
                    <a:cubicBezTo>
                      <a:pt x="147" y="114"/>
                      <a:pt x="147" y="114"/>
                      <a:pt x="147" y="114"/>
                    </a:cubicBezTo>
                    <a:cubicBezTo>
                      <a:pt x="147" y="113"/>
                      <a:pt x="148" y="112"/>
                      <a:pt x="147" y="111"/>
                    </a:cubicBezTo>
                    <a:cubicBezTo>
                      <a:pt x="148" y="109"/>
                      <a:pt x="147" y="107"/>
                      <a:pt x="145" y="106"/>
                    </a:cubicBezTo>
                    <a:lnTo>
                      <a:pt x="129" y="91"/>
                    </a:lnTo>
                    <a:close/>
                    <a:moveTo>
                      <a:pt x="96" y="80"/>
                    </a:moveTo>
                    <a:cubicBezTo>
                      <a:pt x="96" y="92"/>
                      <a:pt x="86" y="102"/>
                      <a:pt x="74" y="102"/>
                    </a:cubicBezTo>
                    <a:cubicBezTo>
                      <a:pt x="62" y="102"/>
                      <a:pt x="52" y="92"/>
                      <a:pt x="52" y="80"/>
                    </a:cubicBezTo>
                    <a:cubicBezTo>
                      <a:pt x="52" y="68"/>
                      <a:pt x="62" y="58"/>
                      <a:pt x="74" y="58"/>
                    </a:cubicBezTo>
                    <a:cubicBezTo>
                      <a:pt x="86" y="58"/>
                      <a:pt x="96" y="68"/>
                      <a:pt x="96" y="8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27" name="Freeform 81"/>
            <p:cNvSpPr>
              <a:spLocks noEditPoints="1"/>
            </p:cNvSpPr>
            <p:nvPr/>
          </p:nvSpPr>
          <p:spPr bwMode="auto">
            <a:xfrm>
              <a:off x="4289239" y="2714604"/>
              <a:ext cx="836525" cy="685802"/>
            </a:xfrm>
            <a:custGeom>
              <a:avLst/>
              <a:gdLst>
                <a:gd name="T0" fmla="*/ 239 w 280"/>
                <a:gd name="T1" fmla="*/ 66 h 281"/>
                <a:gd name="T2" fmla="*/ 214 w 280"/>
                <a:gd name="T3" fmla="*/ 66 h 281"/>
                <a:gd name="T4" fmla="*/ 214 w 280"/>
                <a:gd name="T5" fmla="*/ 8 h 281"/>
                <a:gd name="T6" fmla="*/ 207 w 280"/>
                <a:gd name="T7" fmla="*/ 0 h 281"/>
                <a:gd name="T8" fmla="*/ 8 w 280"/>
                <a:gd name="T9" fmla="*/ 0 h 281"/>
                <a:gd name="T10" fmla="*/ 0 w 280"/>
                <a:gd name="T11" fmla="*/ 8 h 281"/>
                <a:gd name="T12" fmla="*/ 0 w 280"/>
                <a:gd name="T13" fmla="*/ 207 h 281"/>
                <a:gd name="T14" fmla="*/ 74 w 280"/>
                <a:gd name="T15" fmla="*/ 281 h 281"/>
                <a:gd name="T16" fmla="*/ 141 w 280"/>
                <a:gd name="T17" fmla="*/ 281 h 281"/>
                <a:gd name="T18" fmla="*/ 214 w 280"/>
                <a:gd name="T19" fmla="*/ 214 h 281"/>
                <a:gd name="T20" fmla="*/ 239 w 280"/>
                <a:gd name="T21" fmla="*/ 214 h 281"/>
                <a:gd name="T22" fmla="*/ 280 w 280"/>
                <a:gd name="T23" fmla="*/ 140 h 281"/>
                <a:gd name="T24" fmla="*/ 239 w 280"/>
                <a:gd name="T25" fmla="*/ 66 h 281"/>
                <a:gd name="T26" fmla="*/ 200 w 280"/>
                <a:gd name="T27" fmla="*/ 15 h 281"/>
                <a:gd name="T28" fmla="*/ 200 w 280"/>
                <a:gd name="T29" fmla="*/ 49 h 281"/>
                <a:gd name="T30" fmla="*/ 15 w 280"/>
                <a:gd name="T31" fmla="*/ 49 h 281"/>
                <a:gd name="T32" fmla="*/ 15 w 280"/>
                <a:gd name="T33" fmla="*/ 15 h 281"/>
                <a:gd name="T34" fmla="*/ 200 w 280"/>
                <a:gd name="T35" fmla="*/ 15 h 281"/>
                <a:gd name="T36" fmla="*/ 239 w 280"/>
                <a:gd name="T37" fmla="*/ 199 h 281"/>
                <a:gd name="T38" fmla="*/ 214 w 280"/>
                <a:gd name="T39" fmla="*/ 199 h 281"/>
                <a:gd name="T40" fmla="*/ 214 w 280"/>
                <a:gd name="T41" fmla="*/ 81 h 281"/>
                <a:gd name="T42" fmla="*/ 239 w 280"/>
                <a:gd name="T43" fmla="*/ 81 h 281"/>
                <a:gd name="T44" fmla="*/ 265 w 280"/>
                <a:gd name="T45" fmla="*/ 140 h 281"/>
                <a:gd name="T46" fmla="*/ 239 w 280"/>
                <a:gd name="T47" fmla="*/ 199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0" h="281">
                  <a:moveTo>
                    <a:pt x="239" y="66"/>
                  </a:moveTo>
                  <a:cubicBezTo>
                    <a:pt x="214" y="66"/>
                    <a:pt x="214" y="66"/>
                    <a:pt x="214" y="66"/>
                  </a:cubicBezTo>
                  <a:cubicBezTo>
                    <a:pt x="214" y="8"/>
                    <a:pt x="214" y="8"/>
                    <a:pt x="214" y="8"/>
                  </a:cubicBezTo>
                  <a:cubicBezTo>
                    <a:pt x="214" y="4"/>
                    <a:pt x="211" y="0"/>
                    <a:pt x="20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48"/>
                    <a:pt x="33" y="281"/>
                    <a:pt x="74" y="281"/>
                  </a:cubicBezTo>
                  <a:cubicBezTo>
                    <a:pt x="141" y="281"/>
                    <a:pt x="141" y="281"/>
                    <a:pt x="141" y="281"/>
                  </a:cubicBezTo>
                  <a:cubicBezTo>
                    <a:pt x="179" y="281"/>
                    <a:pt x="211" y="251"/>
                    <a:pt x="214" y="214"/>
                  </a:cubicBezTo>
                  <a:cubicBezTo>
                    <a:pt x="239" y="214"/>
                    <a:pt x="239" y="214"/>
                    <a:pt x="239" y="214"/>
                  </a:cubicBezTo>
                  <a:cubicBezTo>
                    <a:pt x="262" y="214"/>
                    <a:pt x="280" y="181"/>
                    <a:pt x="280" y="140"/>
                  </a:cubicBezTo>
                  <a:cubicBezTo>
                    <a:pt x="280" y="98"/>
                    <a:pt x="262" y="66"/>
                    <a:pt x="239" y="66"/>
                  </a:cubicBezTo>
                  <a:close/>
                  <a:moveTo>
                    <a:pt x="200" y="15"/>
                  </a:moveTo>
                  <a:cubicBezTo>
                    <a:pt x="200" y="49"/>
                    <a:pt x="200" y="49"/>
                    <a:pt x="200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15"/>
                    <a:pt x="15" y="15"/>
                    <a:pt x="15" y="15"/>
                  </a:cubicBezTo>
                  <a:lnTo>
                    <a:pt x="200" y="15"/>
                  </a:lnTo>
                  <a:close/>
                  <a:moveTo>
                    <a:pt x="239" y="199"/>
                  </a:moveTo>
                  <a:cubicBezTo>
                    <a:pt x="214" y="199"/>
                    <a:pt x="214" y="199"/>
                    <a:pt x="214" y="199"/>
                  </a:cubicBezTo>
                  <a:cubicBezTo>
                    <a:pt x="214" y="81"/>
                    <a:pt x="214" y="81"/>
                    <a:pt x="214" y="81"/>
                  </a:cubicBezTo>
                  <a:cubicBezTo>
                    <a:pt x="239" y="81"/>
                    <a:pt x="239" y="81"/>
                    <a:pt x="239" y="81"/>
                  </a:cubicBezTo>
                  <a:cubicBezTo>
                    <a:pt x="251" y="81"/>
                    <a:pt x="265" y="106"/>
                    <a:pt x="265" y="140"/>
                  </a:cubicBezTo>
                  <a:cubicBezTo>
                    <a:pt x="265" y="174"/>
                    <a:pt x="251" y="199"/>
                    <a:pt x="239" y="199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8" name="Freeform 16"/>
            <p:cNvSpPr/>
            <p:nvPr/>
          </p:nvSpPr>
          <p:spPr bwMode="black">
            <a:xfrm>
              <a:off x="7172610" y="2592068"/>
              <a:ext cx="1019822" cy="794956"/>
            </a:xfrm>
            <a:custGeom>
              <a:avLst/>
              <a:gdLst>
                <a:gd name="T0" fmla="*/ 313 w 315"/>
                <a:gd name="T1" fmla="*/ 135 h 236"/>
                <a:gd name="T2" fmla="*/ 300 w 315"/>
                <a:gd name="T3" fmla="*/ 125 h 236"/>
                <a:gd name="T4" fmla="*/ 294 w 315"/>
                <a:gd name="T5" fmla="*/ 122 h 236"/>
                <a:gd name="T6" fmla="*/ 124 w 315"/>
                <a:gd name="T7" fmla="*/ 58 h 236"/>
                <a:gd name="T8" fmla="*/ 125 w 315"/>
                <a:gd name="T9" fmla="*/ 56 h 236"/>
                <a:gd name="T10" fmla="*/ 100 w 315"/>
                <a:gd name="T11" fmla="*/ 39 h 236"/>
                <a:gd name="T12" fmla="*/ 153 w 315"/>
                <a:gd name="T13" fmla="*/ 11 h 236"/>
                <a:gd name="T14" fmla="*/ 103 w 315"/>
                <a:gd name="T15" fmla="*/ 8 h 236"/>
                <a:gd name="T16" fmla="*/ 61 w 315"/>
                <a:gd name="T17" fmla="*/ 44 h 236"/>
                <a:gd name="T18" fmla="*/ 54 w 315"/>
                <a:gd name="T19" fmla="*/ 85 h 236"/>
                <a:gd name="T20" fmla="*/ 37 w 315"/>
                <a:gd name="T21" fmla="*/ 112 h 236"/>
                <a:gd name="T22" fmla="*/ 56 w 315"/>
                <a:gd name="T23" fmla="*/ 133 h 236"/>
                <a:gd name="T24" fmla="*/ 63 w 315"/>
                <a:gd name="T25" fmla="*/ 135 h 236"/>
                <a:gd name="T26" fmla="*/ 35 w 315"/>
                <a:gd name="T27" fmla="*/ 135 h 236"/>
                <a:gd name="T28" fmla="*/ 31 w 315"/>
                <a:gd name="T29" fmla="*/ 141 h 236"/>
                <a:gd name="T30" fmla="*/ 35 w 315"/>
                <a:gd name="T31" fmla="*/ 147 h 236"/>
                <a:gd name="T32" fmla="*/ 50 w 315"/>
                <a:gd name="T33" fmla="*/ 147 h 236"/>
                <a:gd name="T34" fmla="*/ 50 w 315"/>
                <a:gd name="T35" fmla="*/ 176 h 236"/>
                <a:gd name="T36" fmla="*/ 0 w 315"/>
                <a:gd name="T37" fmla="*/ 176 h 236"/>
                <a:gd name="T38" fmla="*/ 0 w 315"/>
                <a:gd name="T39" fmla="*/ 236 h 236"/>
                <a:gd name="T40" fmla="*/ 227 w 315"/>
                <a:gd name="T41" fmla="*/ 236 h 236"/>
                <a:gd name="T42" fmla="*/ 227 w 315"/>
                <a:gd name="T43" fmla="*/ 176 h 236"/>
                <a:gd name="T44" fmla="*/ 61 w 315"/>
                <a:gd name="T45" fmla="*/ 176 h 236"/>
                <a:gd name="T46" fmla="*/ 61 w 315"/>
                <a:gd name="T47" fmla="*/ 147 h 236"/>
                <a:gd name="T48" fmla="*/ 75 w 315"/>
                <a:gd name="T49" fmla="*/ 147 h 236"/>
                <a:gd name="T50" fmla="*/ 79 w 315"/>
                <a:gd name="T51" fmla="*/ 141 h 236"/>
                <a:gd name="T52" fmla="*/ 75 w 315"/>
                <a:gd name="T53" fmla="*/ 135 h 236"/>
                <a:gd name="T54" fmla="*/ 70 w 315"/>
                <a:gd name="T55" fmla="*/ 135 h 236"/>
                <a:gd name="T56" fmla="*/ 77 w 315"/>
                <a:gd name="T57" fmla="*/ 127 h 236"/>
                <a:gd name="T58" fmla="*/ 84 w 315"/>
                <a:gd name="T59" fmla="*/ 93 h 236"/>
                <a:gd name="T60" fmla="*/ 112 w 315"/>
                <a:gd name="T61" fmla="*/ 93 h 236"/>
                <a:gd name="T62" fmla="*/ 113 w 315"/>
                <a:gd name="T63" fmla="*/ 90 h 236"/>
                <a:gd name="T64" fmla="*/ 282 w 315"/>
                <a:gd name="T65" fmla="*/ 154 h 236"/>
                <a:gd name="T66" fmla="*/ 289 w 315"/>
                <a:gd name="T67" fmla="*/ 156 h 236"/>
                <a:gd name="T68" fmla="*/ 305 w 315"/>
                <a:gd name="T69" fmla="*/ 156 h 236"/>
                <a:gd name="T70" fmla="*/ 314 w 315"/>
                <a:gd name="T71" fmla="*/ 145 h 236"/>
                <a:gd name="T72" fmla="*/ 313 w 315"/>
                <a:gd name="T73" fmla="*/ 13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5" h="236">
                  <a:moveTo>
                    <a:pt x="313" y="135"/>
                  </a:moveTo>
                  <a:cubicBezTo>
                    <a:pt x="311" y="131"/>
                    <a:pt x="306" y="127"/>
                    <a:pt x="300" y="125"/>
                  </a:cubicBezTo>
                  <a:cubicBezTo>
                    <a:pt x="298" y="124"/>
                    <a:pt x="296" y="123"/>
                    <a:pt x="294" y="122"/>
                  </a:cubicBezTo>
                  <a:cubicBezTo>
                    <a:pt x="237" y="101"/>
                    <a:pt x="181" y="80"/>
                    <a:pt x="124" y="58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32" y="52"/>
                    <a:pt x="104" y="51"/>
                    <a:pt x="100" y="39"/>
                  </a:cubicBezTo>
                  <a:cubicBezTo>
                    <a:pt x="96" y="26"/>
                    <a:pt x="146" y="14"/>
                    <a:pt x="153" y="11"/>
                  </a:cubicBezTo>
                  <a:cubicBezTo>
                    <a:pt x="161" y="7"/>
                    <a:pt x="125" y="0"/>
                    <a:pt x="103" y="8"/>
                  </a:cubicBezTo>
                  <a:cubicBezTo>
                    <a:pt x="81" y="16"/>
                    <a:pt x="69" y="29"/>
                    <a:pt x="61" y="44"/>
                  </a:cubicBezTo>
                  <a:cubicBezTo>
                    <a:pt x="53" y="58"/>
                    <a:pt x="55" y="77"/>
                    <a:pt x="54" y="85"/>
                  </a:cubicBezTo>
                  <a:cubicBezTo>
                    <a:pt x="54" y="92"/>
                    <a:pt x="40" y="104"/>
                    <a:pt x="37" y="112"/>
                  </a:cubicBezTo>
                  <a:cubicBezTo>
                    <a:pt x="32" y="125"/>
                    <a:pt x="46" y="129"/>
                    <a:pt x="56" y="133"/>
                  </a:cubicBezTo>
                  <a:cubicBezTo>
                    <a:pt x="59" y="134"/>
                    <a:pt x="61" y="135"/>
                    <a:pt x="63" y="13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3" y="135"/>
                    <a:pt x="31" y="138"/>
                    <a:pt x="31" y="141"/>
                  </a:cubicBezTo>
                  <a:cubicBezTo>
                    <a:pt x="31" y="144"/>
                    <a:pt x="33" y="147"/>
                    <a:pt x="35" y="147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50" y="176"/>
                    <a:pt x="50" y="176"/>
                    <a:pt x="50" y="176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227" y="236"/>
                    <a:pt x="227" y="236"/>
                    <a:pt x="227" y="236"/>
                  </a:cubicBezTo>
                  <a:cubicBezTo>
                    <a:pt x="227" y="176"/>
                    <a:pt x="227" y="176"/>
                    <a:pt x="227" y="176"/>
                  </a:cubicBezTo>
                  <a:cubicBezTo>
                    <a:pt x="61" y="176"/>
                    <a:pt x="61" y="176"/>
                    <a:pt x="61" y="176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75" y="147"/>
                    <a:pt x="75" y="147"/>
                    <a:pt x="75" y="147"/>
                  </a:cubicBezTo>
                  <a:cubicBezTo>
                    <a:pt x="77" y="147"/>
                    <a:pt x="79" y="144"/>
                    <a:pt x="79" y="141"/>
                  </a:cubicBezTo>
                  <a:cubicBezTo>
                    <a:pt x="79" y="138"/>
                    <a:pt x="77" y="135"/>
                    <a:pt x="75" y="135"/>
                  </a:cubicBezTo>
                  <a:cubicBezTo>
                    <a:pt x="70" y="135"/>
                    <a:pt x="70" y="135"/>
                    <a:pt x="70" y="135"/>
                  </a:cubicBezTo>
                  <a:cubicBezTo>
                    <a:pt x="73" y="134"/>
                    <a:pt x="75" y="132"/>
                    <a:pt x="77" y="127"/>
                  </a:cubicBezTo>
                  <a:cubicBezTo>
                    <a:pt x="82" y="118"/>
                    <a:pt x="76" y="104"/>
                    <a:pt x="84" y="93"/>
                  </a:cubicBezTo>
                  <a:cubicBezTo>
                    <a:pt x="91" y="83"/>
                    <a:pt x="112" y="93"/>
                    <a:pt x="112" y="93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70" y="111"/>
                    <a:pt x="226" y="132"/>
                    <a:pt x="282" y="154"/>
                  </a:cubicBezTo>
                  <a:cubicBezTo>
                    <a:pt x="284" y="154"/>
                    <a:pt x="287" y="155"/>
                    <a:pt x="289" y="156"/>
                  </a:cubicBezTo>
                  <a:cubicBezTo>
                    <a:pt x="294" y="158"/>
                    <a:pt x="300" y="158"/>
                    <a:pt x="305" y="156"/>
                  </a:cubicBezTo>
                  <a:cubicBezTo>
                    <a:pt x="310" y="154"/>
                    <a:pt x="314" y="150"/>
                    <a:pt x="314" y="145"/>
                  </a:cubicBezTo>
                  <a:cubicBezTo>
                    <a:pt x="315" y="142"/>
                    <a:pt x="314" y="138"/>
                    <a:pt x="313" y="135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>
                <a:solidFill>
                  <a:srgbClr val="FFFFFF"/>
                </a:solidFill>
              </a:endParaRPr>
            </a:p>
          </p:txBody>
        </p:sp>
        <p:sp>
          <p:nvSpPr>
            <p:cNvPr id="129" name="Freeform 12"/>
            <p:cNvSpPr>
              <a:spLocks noEditPoints="1"/>
            </p:cNvSpPr>
            <p:nvPr/>
          </p:nvSpPr>
          <p:spPr bwMode="black">
            <a:xfrm>
              <a:off x="10152330" y="2682847"/>
              <a:ext cx="800310" cy="799893"/>
            </a:xfrm>
            <a:custGeom>
              <a:avLst/>
              <a:gdLst>
                <a:gd name="T0" fmla="*/ 709 w 709"/>
                <a:gd name="T1" fmla="*/ 570 h 709"/>
                <a:gd name="T2" fmla="*/ 373 w 709"/>
                <a:gd name="T3" fmla="*/ 709 h 709"/>
                <a:gd name="T4" fmla="*/ 373 w 709"/>
                <a:gd name="T5" fmla="*/ 294 h 709"/>
                <a:gd name="T6" fmla="*/ 709 w 709"/>
                <a:gd name="T7" fmla="*/ 154 h 709"/>
                <a:gd name="T8" fmla="*/ 709 w 709"/>
                <a:gd name="T9" fmla="*/ 570 h 709"/>
                <a:gd name="T10" fmla="*/ 335 w 709"/>
                <a:gd name="T11" fmla="*/ 294 h 709"/>
                <a:gd name="T12" fmla="*/ 0 w 709"/>
                <a:gd name="T13" fmla="*/ 154 h 709"/>
                <a:gd name="T14" fmla="*/ 0 w 709"/>
                <a:gd name="T15" fmla="*/ 570 h 709"/>
                <a:gd name="T16" fmla="*/ 335 w 709"/>
                <a:gd name="T17" fmla="*/ 709 h 709"/>
                <a:gd name="T18" fmla="*/ 335 w 709"/>
                <a:gd name="T19" fmla="*/ 294 h 709"/>
                <a:gd name="T20" fmla="*/ 354 w 709"/>
                <a:gd name="T21" fmla="*/ 0 h 709"/>
                <a:gd name="T22" fmla="*/ 0 w 709"/>
                <a:gd name="T23" fmla="*/ 126 h 709"/>
                <a:gd name="T24" fmla="*/ 354 w 709"/>
                <a:gd name="T25" fmla="*/ 268 h 709"/>
                <a:gd name="T26" fmla="*/ 709 w 709"/>
                <a:gd name="T27" fmla="*/ 126 h 709"/>
                <a:gd name="T28" fmla="*/ 354 w 709"/>
                <a:gd name="T2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709">
                  <a:moveTo>
                    <a:pt x="709" y="570"/>
                  </a:moveTo>
                  <a:lnTo>
                    <a:pt x="373" y="709"/>
                  </a:lnTo>
                  <a:lnTo>
                    <a:pt x="373" y="294"/>
                  </a:lnTo>
                  <a:lnTo>
                    <a:pt x="709" y="154"/>
                  </a:lnTo>
                  <a:lnTo>
                    <a:pt x="709" y="570"/>
                  </a:lnTo>
                  <a:close/>
                  <a:moveTo>
                    <a:pt x="335" y="294"/>
                  </a:moveTo>
                  <a:lnTo>
                    <a:pt x="0" y="154"/>
                  </a:lnTo>
                  <a:lnTo>
                    <a:pt x="0" y="570"/>
                  </a:lnTo>
                  <a:lnTo>
                    <a:pt x="335" y="709"/>
                  </a:lnTo>
                  <a:lnTo>
                    <a:pt x="335" y="294"/>
                  </a:lnTo>
                  <a:close/>
                  <a:moveTo>
                    <a:pt x="354" y="0"/>
                  </a:moveTo>
                  <a:lnTo>
                    <a:pt x="0" y="126"/>
                  </a:lnTo>
                  <a:lnTo>
                    <a:pt x="354" y="268"/>
                  </a:lnTo>
                  <a:lnTo>
                    <a:pt x="709" y="126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>
                <a:solidFill>
                  <a:srgbClr val="FFFFFF"/>
                </a:solidFill>
              </a:endParaRPr>
            </a:p>
          </p:txBody>
        </p:sp>
      </p:grpSp>
      <p:grpSp>
        <p:nvGrpSpPr>
          <p:cNvPr id="76" name="组合 75"/>
          <p:cNvGrpSpPr/>
          <p:nvPr/>
        </p:nvGrpSpPr>
        <p:grpSpPr>
          <a:xfrm>
            <a:off x="1293486" y="4015971"/>
            <a:ext cx="1856589" cy="1619912"/>
            <a:chOff x="1293486" y="4015971"/>
            <a:chExt cx="1856589" cy="1619912"/>
          </a:xfrm>
        </p:grpSpPr>
        <p:sp>
          <p:nvSpPr>
            <p:cNvPr id="130" name="矩形 129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>
                  <a:solidFill>
                    <a:srgbClr val="FFFFFF"/>
                  </a:solidFill>
                </a:rPr>
                <a:t>MILLION TONS ANNUAL TEXTILE </a:t>
              </a:r>
              <a:r>
                <a:rPr lang="en-US" altLang="zh-CN" sz="900" cap="all" dirty="0" smtClean="0">
                  <a:solidFill>
                    <a:srgbClr val="FFFFFF"/>
                  </a:solidFill>
                </a:rPr>
                <a:t>GLOBAL </a:t>
              </a:r>
              <a:r>
                <a:rPr lang="en-US" altLang="zh-CN" sz="900" cap="all" dirty="0">
                  <a:solidFill>
                    <a:srgbClr val="FFFFFF"/>
                  </a:solidFill>
                </a:rPr>
                <a:t>PRODUCTION 2010</a:t>
              </a:r>
              <a:endParaRPr lang="zh-CN" altLang="en-US" sz="900" dirty="0"/>
            </a:p>
          </p:txBody>
        </p:sp>
        <p:sp>
          <p:nvSpPr>
            <p:cNvPr id="131" name="矩形 130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32" name="直接连接符 131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组合 132"/>
          <p:cNvGrpSpPr/>
          <p:nvPr/>
        </p:nvGrpSpPr>
        <p:grpSpPr>
          <a:xfrm>
            <a:off x="4050382" y="4013882"/>
            <a:ext cx="1856589" cy="1619912"/>
            <a:chOff x="1293486" y="4015971"/>
            <a:chExt cx="1856589" cy="1619912"/>
          </a:xfrm>
        </p:grpSpPr>
        <p:sp>
          <p:nvSpPr>
            <p:cNvPr id="134" name="矩形 133"/>
            <p:cNvSpPr/>
            <p:nvPr/>
          </p:nvSpPr>
          <p:spPr>
            <a:xfrm>
              <a:off x="1429266" y="4015971"/>
              <a:ext cx="165937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 smtClean="0">
                  <a:solidFill>
                    <a:srgbClr val="FFFFFF"/>
                  </a:solidFill>
                </a:rPr>
                <a:t>OF FIBERS CONSUMED IN 2012 </a:t>
              </a:r>
              <a:endParaRPr lang="en-US" altLang="zh-CN" sz="900" cap="all" dirty="0" smtClean="0">
                <a:solidFill>
                  <a:srgbClr val="FFFFFF"/>
                </a:solidFill>
              </a:endParaRPr>
            </a:p>
            <a:p>
              <a:r>
                <a:rPr lang="en-US" altLang="zh-CN" sz="900" cap="all" dirty="0" smtClean="0">
                  <a:solidFill>
                    <a:srgbClr val="FFFFFF"/>
                  </a:solidFill>
                </a:rPr>
                <a:t>ARE MANMADE FIBERS</a:t>
              </a:r>
              <a:endParaRPr lang="en-US" altLang="zh-CN" sz="900" cap="all" dirty="0">
                <a:solidFill>
                  <a:srgbClr val="FFFFFF"/>
                </a:solidFill>
              </a:endParaRPr>
            </a:p>
          </p:txBody>
        </p:sp>
        <p:sp>
          <p:nvSpPr>
            <p:cNvPr id="135" name="矩形 134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36" name="直接连接符 135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组合 136"/>
          <p:cNvGrpSpPr/>
          <p:nvPr/>
        </p:nvGrpSpPr>
        <p:grpSpPr>
          <a:xfrm>
            <a:off x="6636117" y="4022944"/>
            <a:ext cx="1856589" cy="1619912"/>
            <a:chOff x="1293486" y="4015971"/>
            <a:chExt cx="1856589" cy="1619912"/>
          </a:xfrm>
        </p:grpSpPr>
        <p:sp>
          <p:nvSpPr>
            <p:cNvPr id="138" name="矩形 137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 smtClean="0">
                  <a:solidFill>
                    <a:srgbClr val="FFFFFF"/>
                  </a:solidFill>
                </a:rPr>
                <a:t>GLOBAL TEXTILE AND APPAREL WASTE </a:t>
              </a:r>
              <a:endParaRPr lang="en-US" altLang="zh-CN" sz="900" cap="all" dirty="0" smtClean="0">
                <a:solidFill>
                  <a:srgbClr val="FFFFFF"/>
                </a:solidFill>
              </a:endParaRPr>
            </a:p>
            <a:p>
              <a:r>
                <a:rPr lang="en-US" altLang="zh-CN" sz="900" cap="all" dirty="0" smtClean="0">
                  <a:solidFill>
                    <a:srgbClr val="FFFFFF"/>
                  </a:solidFill>
                </a:rPr>
                <a:t>ON GLOBAL PRODUCTION</a:t>
              </a:r>
              <a:endParaRPr lang="en-US" altLang="zh-CN" sz="900" cap="all" dirty="0">
                <a:solidFill>
                  <a:srgbClr val="FFFFFF"/>
                </a:solidFill>
              </a:endParaRPr>
            </a:p>
          </p:txBody>
        </p:sp>
        <p:sp>
          <p:nvSpPr>
            <p:cNvPr id="139" name="矩形 138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40" name="直接连接符 139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1" name="组合 140"/>
          <p:cNvGrpSpPr/>
          <p:nvPr/>
        </p:nvGrpSpPr>
        <p:grpSpPr>
          <a:xfrm>
            <a:off x="9215905" y="4008219"/>
            <a:ext cx="1856589" cy="1619912"/>
            <a:chOff x="1293486" y="4015971"/>
            <a:chExt cx="1856589" cy="1619912"/>
          </a:xfrm>
        </p:grpSpPr>
        <p:sp>
          <p:nvSpPr>
            <p:cNvPr id="142" name="矩形 141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>
                  <a:solidFill>
                    <a:srgbClr val="FFFFFF"/>
                  </a:solidFill>
                </a:rPr>
                <a:t>MILLION TONS ANNUAL TEXTILE </a:t>
              </a:r>
              <a:r>
                <a:rPr lang="en-US" altLang="zh-CN" sz="900" cap="all" dirty="0" smtClean="0">
                  <a:solidFill>
                    <a:srgbClr val="FFFFFF"/>
                  </a:solidFill>
                </a:rPr>
                <a:t>GLOBAL </a:t>
              </a:r>
              <a:r>
                <a:rPr lang="en-US" altLang="zh-CN" sz="900" cap="all" dirty="0">
                  <a:solidFill>
                    <a:srgbClr val="FFFFFF"/>
                  </a:solidFill>
                </a:rPr>
                <a:t>PRODUCTION 2010</a:t>
              </a:r>
              <a:endParaRPr lang="zh-CN" altLang="en-US" sz="900" dirty="0"/>
            </a:p>
          </p:txBody>
        </p:sp>
        <p:sp>
          <p:nvSpPr>
            <p:cNvPr id="143" name="矩形 142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44" name="直接连接符 143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3" name="组合 162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64" name="组合 163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71" name="矩形 17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2" name="文本框 17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73" name="文本框 17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74" name="直接连接符 17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椭圆 17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6" name="文本框 17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5" name="组合 164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69" name="六边形 16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66" name="组合 165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67" name="六边形 166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8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527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 smtClean="0">
                  <a:solidFill>
                    <a:schemeClr val="bg1"/>
                  </a:solidFill>
                  <a:latin typeface="Impact" panose="020B0806030902050204" pitchFamily="34" charset="0"/>
                </a:rPr>
                <a:t>09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" name="图片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596" y="3749044"/>
            <a:ext cx="1746422" cy="1746422"/>
          </a:xfrm>
          <a:prstGeom prst="rect">
            <a:avLst/>
          </a:prstGeom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206" y="3780166"/>
            <a:ext cx="1746422" cy="1746422"/>
          </a:xfrm>
          <a:prstGeom prst="rect">
            <a:avLst/>
          </a:prstGeom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206" y="1941547"/>
            <a:ext cx="1746422" cy="1746422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596" y="1941547"/>
            <a:ext cx="1746422" cy="1746422"/>
          </a:xfrm>
          <a:prstGeom prst="rect">
            <a:avLst/>
          </a:prstGeom>
        </p:spPr>
      </p:pic>
      <p:pic>
        <p:nvPicPr>
          <p:cNvPr id="77" name="图片 7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0680" y="1941547"/>
            <a:ext cx="1747735" cy="1747735"/>
          </a:xfrm>
          <a:prstGeom prst="rect">
            <a:avLst/>
          </a:prstGeom>
        </p:spPr>
      </p:pic>
      <p:pic>
        <p:nvPicPr>
          <p:cNvPr id="78" name="图片 7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113" y="1941547"/>
            <a:ext cx="1747735" cy="1747735"/>
          </a:xfrm>
          <a:prstGeom prst="rect">
            <a:avLst/>
          </a:prstGeom>
        </p:spPr>
      </p:pic>
      <p:pic>
        <p:nvPicPr>
          <p:cNvPr id="79" name="图片 7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8503" y="1941547"/>
            <a:ext cx="1747735" cy="1747735"/>
          </a:xfrm>
          <a:prstGeom prst="rect">
            <a:avLst/>
          </a:prstGeom>
        </p:spPr>
      </p:pic>
      <p:grpSp>
        <p:nvGrpSpPr>
          <p:cNvPr id="80" name="组合 79"/>
          <p:cNvGrpSpPr/>
          <p:nvPr/>
        </p:nvGrpSpPr>
        <p:grpSpPr>
          <a:xfrm>
            <a:off x="5211168" y="3864019"/>
            <a:ext cx="5469331" cy="1554639"/>
            <a:chOff x="5211168" y="3864019"/>
            <a:chExt cx="5469331" cy="1554639"/>
          </a:xfrm>
        </p:grpSpPr>
        <p:grpSp>
          <p:nvGrpSpPr>
            <p:cNvPr id="75" name="组合 74"/>
            <p:cNvGrpSpPr/>
            <p:nvPr/>
          </p:nvGrpSpPr>
          <p:grpSpPr>
            <a:xfrm>
              <a:off x="5340246" y="3864019"/>
              <a:ext cx="3944572" cy="646331"/>
              <a:chOff x="-4321819" y="6216486"/>
              <a:chExt cx="3944572" cy="646331"/>
            </a:xfrm>
          </p:grpSpPr>
          <p:sp>
            <p:nvSpPr>
              <p:cNvPr id="108" name="矩形 107"/>
              <p:cNvSpPr/>
              <p:nvPr/>
            </p:nvSpPr>
            <p:spPr>
              <a:xfrm>
                <a:off x="-4306528" y="6216486"/>
                <a:ext cx="3929281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dirty="0">
                    <a:solidFill>
                      <a:srgbClr val="EE355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GO LIVE FOR THE HEALTHY </a:t>
                </a:r>
                <a:endParaRPr lang="en-US" altLang="zh-CN" dirty="0" smtClean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  <a:p>
                <a:r>
                  <a:rPr lang="en-US" altLang="zh-CN" dirty="0" smtClean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SEAS </a:t>
                </a:r>
                <a:r>
                  <a:rPr lang="en-US" altLang="zh-CN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INITIATIVE!</a:t>
                </a:r>
                <a:endParaRPr lang="zh-CN" altLang="en-US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  <p:cxnSp>
            <p:nvCxnSpPr>
              <p:cNvPr id="117" name="直接连接符 116"/>
              <p:cNvCxnSpPr/>
              <p:nvPr/>
            </p:nvCxnSpPr>
            <p:spPr>
              <a:xfrm>
                <a:off x="-4321819" y="6257262"/>
                <a:ext cx="0" cy="504000"/>
              </a:xfrm>
              <a:prstGeom prst="line">
                <a:avLst/>
              </a:prstGeom>
              <a:ln w="57150">
                <a:solidFill>
                  <a:srgbClr val="EE355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6" name="矩形 145"/>
            <p:cNvSpPr/>
            <p:nvPr/>
          </p:nvSpPr>
          <p:spPr>
            <a:xfrm>
              <a:off x="5211168" y="4479939"/>
              <a:ext cx="546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100" dirty="0">
                  <a:solidFill>
                    <a:schemeClr val="bg1"/>
                  </a:solidFill>
                </a:rPr>
                <a:t>The colors are vivid and with stylish pattern. For man,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>
                  <a:solidFill>
                    <a:schemeClr val="bg1"/>
                  </a:solidFill>
                </a:rPr>
                <a:t> x-life ECO</a:t>
              </a:r>
              <a:r>
                <a:rPr lang="en-US" altLang="zh-CN" sz="1100" dirty="0" smtClean="0">
                  <a:solidFill>
                    <a:schemeClr val="bg1"/>
                  </a:solidFill>
                </a:rPr>
                <a:t>.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 smtClean="0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 smtClean="0">
                  <a:solidFill>
                    <a:schemeClr val="bg1"/>
                  </a:solidFill>
                </a:rPr>
                <a:t> x-life ECO.</a:t>
              </a:r>
              <a:endParaRPr lang="zh-CN" alt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7" name="组合 146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8" name="组合 147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5" name="矩形 154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6" name="文本框 155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 smtClean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7" name="文本框 156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 smtClean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 smtClean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8" name="直接连接符 157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9" name="椭圆 158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0" name="文本框 159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 smtClean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9" name="组合 14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53" name="六边形 15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50" name="组合 14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51" name="六边形 15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pvUI7nSWyV0Oi158uw0iiAg"/>
</p:tagLst>
</file>

<file path=ppt/tags/tag2.xml><?xml version="1.0" encoding="utf-8"?>
<p:tagLst xmlns:p="http://schemas.openxmlformats.org/presentationml/2006/main">
  <p:tag name="commondata" val="eyJoZGlkIjoiYTQ3YTc2YjBlNWRhYjQ0NTA0MDBkN2E0YWM4YTZjZGMifQ==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397</Words>
  <Application>WPS 演示</Application>
  <PresentationFormat>宽屏</PresentationFormat>
  <Paragraphs>472</Paragraphs>
  <Slides>21</Slides>
  <Notes>1</Notes>
  <HiddenSlides>0</HiddenSlides>
  <MMClips>0</MMClips>
  <ScaleCrop>false</ScaleCrop>
  <HeadingPairs>
    <vt:vector size="6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39" baseType="lpstr">
      <vt:lpstr>Arial</vt:lpstr>
      <vt:lpstr>宋体</vt:lpstr>
      <vt:lpstr>Wingdings</vt:lpstr>
      <vt:lpstr>Impact</vt:lpstr>
      <vt:lpstr>Kozuka Gothic Pro H</vt:lpstr>
      <vt:lpstr>Yu Gothic UI Semibold</vt:lpstr>
      <vt:lpstr>方正风雅宋简体</vt:lpstr>
      <vt:lpstr>Georgia</vt:lpstr>
      <vt:lpstr>Calibri</vt:lpstr>
      <vt:lpstr>微软雅黑</vt:lpstr>
      <vt:lpstr>Arial Unicode MS</vt:lpstr>
      <vt:lpstr>Calibri Light</vt:lpstr>
      <vt:lpstr>Segoe UI</vt:lpstr>
      <vt:lpstr>Segoe UI</vt:lpstr>
      <vt:lpstr>Meiryo</vt:lpstr>
      <vt:lpstr>Yu Gothic UI</vt:lpstr>
      <vt:lpstr>Arial Narrow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Chin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lastModifiedBy>Years later</cp:lastModifiedBy>
  <cp:revision>58</cp:revision>
  <dcterms:created xsi:type="dcterms:W3CDTF">2014-03-19T02:43:00Z</dcterms:created>
  <dcterms:modified xsi:type="dcterms:W3CDTF">2024-05-03T08:0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BFBB2CB57FF24C51B8877CB8BF218C72_13</vt:lpwstr>
  </property>
  <property fmtid="{D5CDD505-2E9C-101B-9397-08002B2CF9AE}" pid="3" name="KSOProductBuildVer">
    <vt:lpwstr>2052-12.1.0.16417</vt:lpwstr>
  </property>
</Properties>
</file>